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5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media/image18.jpg" ContentType="image/jpg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1" r:id="rId5"/>
    <p:sldMasterId id="2147483703" r:id="rId6"/>
    <p:sldMasterId id="2147483715" r:id="rId7"/>
    <p:sldMasterId id="2147483728" r:id="rId8"/>
    <p:sldMasterId id="2147483746" r:id="rId9"/>
  </p:sldMasterIdLst>
  <p:notesMasterIdLst>
    <p:notesMasterId r:id="rId64"/>
  </p:notesMasterIdLst>
  <p:sldIdLst>
    <p:sldId id="7447" r:id="rId10"/>
    <p:sldId id="288" r:id="rId11"/>
    <p:sldId id="2147375873" r:id="rId12"/>
    <p:sldId id="2147379751" r:id="rId13"/>
    <p:sldId id="2147379735" r:id="rId14"/>
    <p:sldId id="2147375700" r:id="rId15"/>
    <p:sldId id="2147375656" r:id="rId16"/>
    <p:sldId id="2147375884" r:id="rId17"/>
    <p:sldId id="285" r:id="rId18"/>
    <p:sldId id="4524" r:id="rId19"/>
    <p:sldId id="2147379753" r:id="rId20"/>
    <p:sldId id="2147379743" r:id="rId21"/>
    <p:sldId id="342" r:id="rId22"/>
    <p:sldId id="2147376083" r:id="rId23"/>
    <p:sldId id="2147379733" r:id="rId24"/>
    <p:sldId id="2147379786" r:id="rId25"/>
    <p:sldId id="2147379739" r:id="rId26"/>
    <p:sldId id="2147379785" r:id="rId27"/>
    <p:sldId id="312" r:id="rId28"/>
    <p:sldId id="2147379784" r:id="rId29"/>
    <p:sldId id="2147379780" r:id="rId30"/>
    <p:sldId id="2147379781" r:id="rId31"/>
    <p:sldId id="7553" r:id="rId32"/>
    <p:sldId id="2147379752" r:id="rId33"/>
    <p:sldId id="2147379740" r:id="rId34"/>
    <p:sldId id="2147375937" r:id="rId35"/>
    <p:sldId id="2147379704" r:id="rId36"/>
    <p:sldId id="2147379738" r:id="rId37"/>
    <p:sldId id="7419" r:id="rId38"/>
    <p:sldId id="7422" r:id="rId39"/>
    <p:sldId id="2147379703" r:id="rId40"/>
    <p:sldId id="8000" r:id="rId41"/>
    <p:sldId id="259" r:id="rId42"/>
    <p:sldId id="280" r:id="rId43"/>
    <p:sldId id="2147379754" r:id="rId44"/>
    <p:sldId id="2147375966" r:id="rId45"/>
    <p:sldId id="2147375963" r:id="rId46"/>
    <p:sldId id="314" r:id="rId47"/>
    <p:sldId id="2147376136" r:id="rId48"/>
    <p:sldId id="2147379782" r:id="rId49"/>
    <p:sldId id="2147379755" r:id="rId50"/>
    <p:sldId id="2147379756" r:id="rId51"/>
    <p:sldId id="263" r:id="rId52"/>
    <p:sldId id="267" r:id="rId53"/>
    <p:sldId id="268" r:id="rId54"/>
    <p:sldId id="2147375944" r:id="rId55"/>
    <p:sldId id="2147375946" r:id="rId56"/>
    <p:sldId id="2147375947" r:id="rId57"/>
    <p:sldId id="2147379787" r:id="rId58"/>
    <p:sldId id="2147379757" r:id="rId59"/>
    <p:sldId id="2147376072" r:id="rId60"/>
    <p:sldId id="2147376073" r:id="rId61"/>
    <p:sldId id="2147376090" r:id="rId62"/>
    <p:sldId id="4697" r:id="rId63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D088EE2-3748-4CD6-2657-F58CC97BDC35}" name="Patriks Christian Sipa Pasambe" initials="" userId="S::patrikschristian@pu.go.id::199520d7-5587-45e9-b3b2-a814763feb2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100"/>
    <a:srgbClr val="174A90"/>
    <a:srgbClr val="05B050"/>
    <a:srgbClr val="C00000"/>
    <a:srgbClr val="5AED4A"/>
    <a:srgbClr val="57B6C0"/>
    <a:srgbClr val="FFC000"/>
    <a:srgbClr val="05B0F0"/>
    <a:srgbClr val="2467EB"/>
    <a:srgbClr val="276E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96" autoAdjust="0"/>
    <p:restoredTop sz="94650"/>
  </p:normalViewPr>
  <p:slideViewPr>
    <p:cSldViewPr snapToGrid="0">
      <p:cViewPr>
        <p:scale>
          <a:sx n="84" d="100"/>
          <a:sy n="84" d="100"/>
        </p:scale>
        <p:origin x="1656" y="9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7.xml"/><Relationship Id="rId21" Type="http://schemas.openxmlformats.org/officeDocument/2006/relationships/slide" Target="slides/slide12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63" Type="http://schemas.openxmlformats.org/officeDocument/2006/relationships/slide" Target="slides/slide54.xml"/><Relationship Id="rId68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53" Type="http://schemas.openxmlformats.org/officeDocument/2006/relationships/slide" Target="slides/slide44.xml"/><Relationship Id="rId58" Type="http://schemas.openxmlformats.org/officeDocument/2006/relationships/slide" Target="slides/slide49.xml"/><Relationship Id="rId66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2.xml"/><Relationship Id="rId19" Type="http://schemas.openxmlformats.org/officeDocument/2006/relationships/slide" Target="slides/slide10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56" Type="http://schemas.openxmlformats.org/officeDocument/2006/relationships/slide" Target="slides/slide47.xml"/><Relationship Id="rId64" Type="http://schemas.openxmlformats.org/officeDocument/2006/relationships/notesMaster" Target="notesMasters/notesMaster1.xml"/><Relationship Id="rId69" Type="http://schemas.microsoft.com/office/2018/10/relationships/authors" Target="author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2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59" Type="http://schemas.openxmlformats.org/officeDocument/2006/relationships/slide" Target="slides/slide50.xml"/><Relationship Id="rId67" Type="http://schemas.openxmlformats.org/officeDocument/2006/relationships/theme" Target="theme/theme1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54" Type="http://schemas.openxmlformats.org/officeDocument/2006/relationships/slide" Target="slides/slide45.xml"/><Relationship Id="rId62" Type="http://schemas.openxmlformats.org/officeDocument/2006/relationships/slide" Target="slides/slide5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Relationship Id="rId57" Type="http://schemas.openxmlformats.org/officeDocument/2006/relationships/slide" Target="slides/slide48.xml"/><Relationship Id="rId10" Type="http://schemas.openxmlformats.org/officeDocument/2006/relationships/slide" Target="slides/slide1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slide" Target="slides/slide43.xml"/><Relationship Id="rId60" Type="http://schemas.openxmlformats.org/officeDocument/2006/relationships/slide" Target="slides/slide51.xml"/><Relationship Id="rId65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39" Type="http://schemas.openxmlformats.org/officeDocument/2006/relationships/slide" Target="slides/slide30.xml"/><Relationship Id="rId34" Type="http://schemas.openxmlformats.org/officeDocument/2006/relationships/slide" Target="slides/slide25.xml"/><Relationship Id="rId50" Type="http://schemas.openxmlformats.org/officeDocument/2006/relationships/slide" Target="slides/slide41.xml"/><Relationship Id="rId55" Type="http://schemas.openxmlformats.org/officeDocument/2006/relationships/slide" Target="slides/slide4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646BA2A0-9711-4C69-8152-883804CFAA9B}" type="datetimeFigureOut">
              <a:rPr lang="en-ID" smtClean="0"/>
              <a:t>29/07/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562F95FF-2062-4FF3-ACC0-B76BB93B898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483949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unsplash.com/s/photos/woman?utm_source=unsplash&amp;utm_medium=referral&amp;utm_content=creditCopyText" TargetMode="External"/><Relationship Id="rId3" Type="http://schemas.openxmlformats.org/officeDocument/2006/relationships/hyperlink" Target="https://unsplash.com/@austindistel?utm_source=unsplash&amp;utm_medium=referral&amp;utm_content=creditCopyText" TargetMode="External"/><Relationship Id="rId7" Type="http://schemas.openxmlformats.org/officeDocument/2006/relationships/hyperlink" Target="https://unsplash.com/@everythingcaptured?utm_source=unsplash&amp;utm_medium=referral&amp;utm_content=creditCopyText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s/photos/businessman?utm_source=unsplash&amp;utm_medium=referral&amp;utm_content=creditCopyText" TargetMode="External"/><Relationship Id="rId5" Type="http://schemas.openxmlformats.org/officeDocument/2006/relationships/hyperlink" Target="https://unsplash.com/@icons8?utm_source=unsplash&amp;utm_medium=referral&amp;utm_content=creditCopyText" TargetMode="External"/><Relationship Id="rId4" Type="http://schemas.openxmlformats.org/officeDocument/2006/relationships/hyperlink" Target="https://unsplash.com/s/photos/webinar?utm_source=unsplash&amp;utm_medium=referral&amp;utm_content=creditCopyText" TargetMode="Externa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llustration by </a:t>
            </a:r>
            <a:r>
              <a:rPr lang="en-US" err="1"/>
              <a:t>freepik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612">
              <a:defRPr/>
            </a:pPr>
            <a:fld id="{8ECE837E-594B-4F0F-92F5-F20D4296AC5C}" type="slidenum">
              <a:rPr lang="en-ID">
                <a:solidFill>
                  <a:prstClr val="black"/>
                </a:solidFill>
                <a:latin typeface="Calibri" panose="020F0502020204030204"/>
              </a:rPr>
              <a:pPr defTabSz="966612">
                <a:defRPr/>
              </a:pPr>
              <a:t>2</a:t>
            </a:fld>
            <a:endParaRPr lang="en-ID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3930047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674F55-693F-DB49-AD24-F8E11CC4F3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13330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674F55-693F-DB49-AD24-F8E11CC4F3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4891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674F55-693F-DB49-AD24-F8E11CC4F3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85624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674F55-693F-DB49-AD24-F8E11CC4F3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54648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7EDCDE-D78F-4B6D-ABC2-EB70237E6430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02296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6500BB-1E88-4513-8D62-A72CB952BA56}" type="slidenum">
              <a:rPr kumimoji="0" lang="id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02015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67E48A-B546-92E9-D5DA-6B53F43C00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3A3D59C-8AAB-7C41-6BFD-0AEF8252CA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F1CE8F-2DA5-77D3-AFF8-0552A0A2C6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78D654-B76C-7516-7762-EDFB1F85D87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674F55-693F-DB49-AD24-F8E11CC4F3B1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666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585001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674F55-693F-DB49-AD24-F8E11CC4F3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42555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674F55-693F-DB49-AD24-F8E11CC4F3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9175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674F55-693F-DB49-AD24-F8E11CC4F3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39353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674F55-693F-DB49-AD24-F8E11CC4F3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1432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0" name="Google Shape;2730;g92a1ad2113_0_5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31" name="Google Shape;2731;g92a1ad2113_0_5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317173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BC3F84-53C6-4801-BE26-D3499302D63E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08448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BC3F84-53C6-4801-BE26-D3499302D63E}" type="slidenum">
              <a:rPr kumimoji="0" lang="en-ID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ID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62188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ustin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Distel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---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/>
              </a:rPr>
              <a:t>Icons8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/>
              </a:rPr>
              <a:t>Team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/>
              </a:rPr>
              <a:t>Edward 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/>
              </a:rPr>
              <a:t>Cisneros</a:t>
            </a:r>
            <a:r>
              <a:rPr lang="en-ID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8"/>
              </a:rPr>
              <a:t>Unsplash</a:t>
            </a:r>
            <a:endParaRPr lang="en-ID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CE837E-594B-4F0F-92F5-F20D4296AC5C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42852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2F95FF-2062-4FF3-ACC0-B76BB93B8982}" type="slidenum">
              <a:rPr lang="en-ID" smtClean="0"/>
              <a:t>1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893555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674F55-693F-DB49-AD24-F8E11CC4F3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70989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674F55-693F-DB49-AD24-F8E11CC4F3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0056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4AF4C7-9049-4E18-AC7D-9E88A340AC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E56AA6D-D4F7-4BDF-A6D0-0B36B9F368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F1C268-8678-433F-A5AF-B763BEE094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B9DF-1B8F-4A2B-B451-BB5D55E9D01B}" type="datetimeFigureOut">
              <a:rPr lang="en-US" smtClean="0"/>
              <a:t>7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2291A2-AC42-4CAF-8222-7DB697B8C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432102-020A-45DC-A802-7946FD2D5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61C1-E9C5-4FA5-944A-06B4AD9360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00468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B834D8-5C09-4D0B-89FC-92F8E014E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101E97-8A25-4DB4-ACC6-E006070429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CB9020-9FE4-48A5-999C-77E81B2CAE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B9DF-1B8F-4A2B-B451-BB5D55E9D01B}" type="datetimeFigureOut">
              <a:rPr lang="en-US" smtClean="0"/>
              <a:t>7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E86B06-A5A4-4D06-B4F8-19D14FEE7F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DCD99E-B1E2-4561-B034-8604EBCB36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61C1-E9C5-4FA5-944A-06B4AD9360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2770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FA6E85F-4350-47B0-AEEA-CE2336C49BC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4CF109-E04F-4A6D-9368-8A559296DB0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BE8F70-3833-4F56-AA13-D3745FC4D8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B9DF-1B8F-4A2B-B451-BB5D55E9D01B}" type="datetimeFigureOut">
              <a:rPr lang="en-US" smtClean="0"/>
              <a:t>7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779643-55E3-417E-B27F-DF9C9E2E47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01F0C3-4341-4909-9863-26C9C05C8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61C1-E9C5-4FA5-944A-06B4AD9360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9053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563" y="0"/>
            <a:ext cx="10032437" cy="1179288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altLang="ko-KR"/>
              <a:t>Free PPT _ Click to add title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584273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2311E3-5D3D-2BEA-38A3-89338B983B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979B33A-F920-AFAB-92FA-D3B6F10F0C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DE7FD1-498F-5E55-DB31-1BC97E7A3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C0D4-9135-4CC9-8D7B-7E0C57697876}" type="datetimeFigureOut">
              <a:rPr lang="en-ID" smtClean="0"/>
              <a:t>29/07/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C969B7-B5E3-F870-70E9-858170D99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A7F791-CE1D-4683-666D-1333C683A9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CDF31-9A18-49F7-81B8-40E6694AAC2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031302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390A50-E73C-4F3E-71CD-30AED73C01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283975-AC42-0ACE-1572-CD0E89747D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92603C-D0AE-6F7E-FEC0-13BF0DFD7E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C0D4-9135-4CC9-8D7B-7E0C57697876}" type="datetimeFigureOut">
              <a:rPr lang="en-ID" smtClean="0"/>
              <a:t>29/07/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C1264A-9A97-10AD-ADE3-5AB309C04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5277FC-06C0-55A6-8994-E1F530AFD4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CDF31-9A18-49F7-81B8-40E6694AAC2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818360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2C7B4F-41C4-9A82-2376-EEBBCEA03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EB63DA-1EED-B0FD-0872-39F1EAC771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1BF260-879E-1F04-A73F-51F0EC013E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C0D4-9135-4CC9-8D7B-7E0C57697876}" type="datetimeFigureOut">
              <a:rPr lang="en-ID" smtClean="0"/>
              <a:t>29/07/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1727FF-CDF7-0267-CAA0-8F1E7EDD2D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4B9D1A-3F7A-7116-EF40-3A6CDBDC1C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CDF31-9A18-49F7-81B8-40E6694AAC2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443039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5D1C9-67EB-ED6E-A810-BD4599C27B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6806AD-F121-9277-CCA4-B7C8D24E592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616A6E-71E9-F836-91F4-9374A4CA59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FCC4E1-8BF1-6395-3D4B-43A139408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C0D4-9135-4CC9-8D7B-7E0C57697876}" type="datetimeFigureOut">
              <a:rPr lang="en-ID" smtClean="0"/>
              <a:t>29/07/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45E26D-A20E-4D21-B004-356EA562D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836DB9-2D76-D7D7-D9EF-304DEADD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CDF31-9A18-49F7-81B8-40E6694AAC2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340443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963E2C-12DF-AADE-422D-579AC73C3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AB26AC-8B09-60C3-58A2-777F051B8D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5EF5B3-D98A-D7AB-BEB5-DED8F5EC10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710999-7F4C-0088-517A-C5F538A444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4381D3-05FA-A7C6-4064-C40F84329A6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32D84F9-60A8-5898-EAAE-3E2E4B109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C0D4-9135-4CC9-8D7B-7E0C57697876}" type="datetimeFigureOut">
              <a:rPr lang="en-ID" smtClean="0"/>
              <a:t>29/07/24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C742B07-7D92-1F7D-0BFC-91D8A7DFE2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B69B3F-E751-0DEB-5E4B-01F7069B1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CDF31-9A18-49F7-81B8-40E6694AAC2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266829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FA1C68-41A0-CC89-5749-BA5A802A25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C7A7A5-D013-CB83-F8C2-933CE2A35C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C0D4-9135-4CC9-8D7B-7E0C57697876}" type="datetimeFigureOut">
              <a:rPr lang="en-ID" smtClean="0"/>
              <a:t>29/07/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6D6A32-1DC1-3FDF-E448-D956DFDBB1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107D9F-D084-E6B5-E4EB-FF3C66D74E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CDF31-9A18-49F7-81B8-40E6694AAC2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072337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E132BC-4275-9C12-A28F-5F3018B6A6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C0D4-9135-4CC9-8D7B-7E0C57697876}" type="datetimeFigureOut">
              <a:rPr lang="en-ID" smtClean="0"/>
              <a:t>29/07/24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822AEC-B10B-36F9-C746-F5CA5534A1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26BB52-508E-385F-0C85-8AF87AC9A8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CDF31-9A18-49F7-81B8-40E6694AAC2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781731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FDB480-3E73-4AB3-B981-4F3898A75B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D1F8C1-2F71-437B-AE81-4022C148F3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DB2D9C-B217-412F-973C-22E2960B9F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B9DF-1B8F-4A2B-B451-BB5D55E9D01B}" type="datetimeFigureOut">
              <a:rPr lang="en-US" smtClean="0"/>
              <a:t>7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8FD178-D871-4E66-A76D-943DD9600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29C4F0-6852-4374-9CD5-6D16EADC9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61C1-E9C5-4FA5-944A-06B4AD9360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31918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20484-44EB-FB1D-4087-A6DB5CCE2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BAE7CD-CDF8-ADEC-4463-7742E515DD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BE7AFE-D28E-54F7-6C3E-EAD2EA8E05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D329DA7-597E-B980-9DD9-7A46CEADF7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C0D4-9135-4CC9-8D7B-7E0C57697876}" type="datetimeFigureOut">
              <a:rPr lang="en-ID" smtClean="0"/>
              <a:t>29/07/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2DC7E4-3E71-D138-B87E-412843105C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C14505-6455-A5DF-FF32-4CE9C99AB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CDF31-9A18-49F7-81B8-40E6694AAC2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970075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690B3C-C875-D3F1-229E-B42FFD3ECE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064462C-774C-C32D-625F-6ACD160B4DC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487329-2130-51CE-4DE5-A1C00E49C3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DB1AF5-38D6-C555-0E45-BCF3FA46C4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C0D4-9135-4CC9-8D7B-7E0C57697876}" type="datetimeFigureOut">
              <a:rPr lang="en-ID" smtClean="0"/>
              <a:t>29/07/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CFB8CF3-4383-B2A9-FB06-F725C48B5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912F49-88BC-E00A-F0AF-AE3CB2ED8E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CDF31-9A18-49F7-81B8-40E6694AAC2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3587712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B2268-8759-C46B-0E01-E9A67157C5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DA2E3E2-28A2-80C0-6E8C-F57A091DBF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0FF46B-ECD7-12C6-B3E5-9FFF5D925A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C0D4-9135-4CC9-8D7B-7E0C57697876}" type="datetimeFigureOut">
              <a:rPr lang="en-ID" smtClean="0"/>
              <a:t>29/07/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9C44BB-D6B3-ABC2-160F-3728242CA9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57A1BC-71DD-C988-8165-E4064FF2CB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CDF31-9A18-49F7-81B8-40E6694AAC2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39317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1DA16D0-8F49-1FD2-1BA4-CB98DDE53DE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D071020-E6B6-2F50-CA3E-6025174B93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CE8B17-816B-4E66-BD7C-B1F4AD58AD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C0D4-9135-4CC9-8D7B-7E0C57697876}" type="datetimeFigureOut">
              <a:rPr lang="en-ID" smtClean="0"/>
              <a:t>29/07/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FF0384-7AC1-8224-056D-D3ABAC6CF4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002545-62F7-72C4-768E-53A6DA1931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CDF31-9A18-49F7-81B8-40E6694AAC2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166893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82C63-43A7-7A4D-BE70-4B657FAA160E}" type="datetimeFigureOut">
              <a:rPr lang="en-US" smtClean="0"/>
              <a:t>7/30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9E008D-C99D-094D-A5C9-59FBEE1DA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3854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82C63-43A7-7A4D-BE70-4B657FAA160E}" type="datetimeFigureOut">
              <a:rPr lang="en-US" smtClean="0"/>
              <a:t>7/30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9E008D-C99D-094D-A5C9-59FBEE1DA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12641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82C63-43A7-7A4D-BE70-4B657FAA160E}" type="datetimeFigureOut">
              <a:rPr lang="en-US" smtClean="0"/>
              <a:t>7/30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9E008D-C99D-094D-A5C9-59FBEE1DA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0054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82C63-43A7-7A4D-BE70-4B657FAA160E}" type="datetimeFigureOut">
              <a:rPr lang="en-US" smtClean="0"/>
              <a:t>7/30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9E008D-C99D-094D-A5C9-59FBEE1DA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34101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82C63-43A7-7A4D-BE70-4B657FAA160E}" type="datetimeFigureOut">
              <a:rPr lang="en-US" smtClean="0"/>
              <a:t>7/30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9E008D-C99D-094D-A5C9-59FBEE1DA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31969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82C63-43A7-7A4D-BE70-4B657FAA160E}" type="datetimeFigureOut">
              <a:rPr lang="en-US" smtClean="0"/>
              <a:t>7/30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9E008D-C99D-094D-A5C9-59FBEE1DA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0309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F3665F-0E0E-40C7-9BD8-C180978AF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F46158-0E06-4B34-BBBC-A7651EC941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5085BF-D1A8-4A40-B634-9A21118914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B9DF-1B8F-4A2B-B451-BB5D55E9D01B}" type="datetimeFigureOut">
              <a:rPr lang="en-US" smtClean="0"/>
              <a:t>7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F020EE-5E2A-44C0-AB0E-5CF3C8BD74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30C62D-BA68-410E-A59D-264E8F065D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61C1-E9C5-4FA5-944A-06B4AD9360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0020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82C63-43A7-7A4D-BE70-4B657FAA160E}" type="datetimeFigureOut">
              <a:rPr lang="en-US" smtClean="0"/>
              <a:t>7/30/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9E008D-C99D-094D-A5C9-59FBEE1DA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29332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82C63-43A7-7A4D-BE70-4B657FAA160E}" type="datetimeFigureOut">
              <a:rPr lang="en-US" smtClean="0"/>
              <a:t>7/30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9E008D-C99D-094D-A5C9-59FBEE1DA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6699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82C63-43A7-7A4D-BE70-4B657FAA160E}" type="datetimeFigureOut">
              <a:rPr lang="en-US" smtClean="0"/>
              <a:t>7/30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9E008D-C99D-094D-A5C9-59FBEE1DA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3862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82C63-43A7-7A4D-BE70-4B657FAA160E}" type="datetimeFigureOut">
              <a:rPr lang="en-US" smtClean="0"/>
              <a:t>7/30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9E008D-C99D-094D-A5C9-59FBEE1DA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9717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82C63-43A7-7A4D-BE70-4B657FAA160E}" type="datetimeFigureOut">
              <a:rPr lang="en-US" smtClean="0"/>
              <a:t>7/30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9E008D-C99D-094D-A5C9-59FBEE1DA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81052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15B482-80D8-A3AA-4A64-2BF892CD6D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F2B883D-496B-8153-0D16-167B2190F2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4B29BE-F5C5-F0BF-CA99-F30A5C1B2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F4770A-046F-424D-82A5-51CD6D78BCB9}" type="datetimeFigureOut">
              <a:rPr lang="en-ID" smtClean="0"/>
              <a:t>30/07/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927AA7-34E5-680E-7CE4-48B1A13193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AF940D-708B-19B1-223C-B88FB26E0C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A9A55-4227-4F73-85BE-0B161C93DF3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6335244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CEBE9D-E557-65C5-7962-D782284E2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6D7C0B-7851-9E19-7BD3-2CC691CF99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09129B-9988-1A11-D776-821719769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F4770A-046F-424D-82A5-51CD6D78BCB9}" type="datetimeFigureOut">
              <a:rPr lang="en-ID" smtClean="0"/>
              <a:t>30/07/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6125D8-8068-78DC-34B0-0B4A6D5292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AEB8A1-38BF-C89A-FFA6-8066B111AE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A9A55-4227-4F73-85BE-0B161C93DF3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8101978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DC02DA-4518-87BA-E6F0-8837F13A73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B9539B-2F86-E332-33C4-93949DEDC7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C7B8B8-2FF2-4914-09EA-626F5AA561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F4770A-046F-424D-82A5-51CD6D78BCB9}" type="datetimeFigureOut">
              <a:rPr lang="en-ID" smtClean="0"/>
              <a:t>30/07/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115895-B228-5D36-D6A6-486AD656AD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94CA8C-68FC-9158-2903-A72E7F237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A9A55-4227-4F73-85BE-0B161C93DF3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996533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1F04F6-D15B-7C74-1BD4-9C9D6255E0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2D1208-D038-857F-D5BF-600E1638DA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3A86B05-A661-CF5D-44A7-277EF1E3B0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966ACA-72C6-CDA3-3F1A-40024B0FAC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F4770A-046F-424D-82A5-51CD6D78BCB9}" type="datetimeFigureOut">
              <a:rPr lang="en-ID" smtClean="0"/>
              <a:t>30/07/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065D4B-E623-744C-A303-B65B66D54F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C9971D-9BE1-2101-9620-F70E215EA7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A9A55-4227-4F73-85BE-0B161C93DF3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7531254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370280-8783-6D57-4691-C7FFD0EB16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9B263E-9AA5-5CC1-95D5-A477A9A254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E60074-80DC-DB3C-ECE7-4E2E68A5D9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4F3AFA-D467-1BB2-EF02-2A64971A697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E98A688-883B-BC42-31E3-48B9CA1EB2D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121D34C-CC5E-FAA8-0558-4DC283B84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F4770A-046F-424D-82A5-51CD6D78BCB9}" type="datetimeFigureOut">
              <a:rPr lang="en-ID" smtClean="0"/>
              <a:t>30/07/24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E99265-2DE3-AF98-216F-DC6094A313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3F04B6-4DA1-FAFF-723F-FE19133D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A9A55-4227-4F73-85BE-0B161C93DF3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425741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26F866-EDF5-4851-B72E-14E1C382B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F43356-4A4C-4DFE-A2E1-7067DDE30D0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57D3CF-FB40-4CCD-88B7-7CE8EDBEB5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9225FE-C180-4830-A7A3-8E1E17BFB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B9DF-1B8F-4A2B-B451-BB5D55E9D01B}" type="datetimeFigureOut">
              <a:rPr lang="en-US" smtClean="0"/>
              <a:t>7/29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FB51E63-801C-41F6-AFDF-0977EDDEB9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BBBC4F2-2330-4354-A0B6-9CD5A05052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61C1-E9C5-4FA5-944A-06B4AD9360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934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F13A29-E8D9-0EC8-80AC-4010F02054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626496C-46D8-03CF-A585-AE280E0198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F4770A-046F-424D-82A5-51CD6D78BCB9}" type="datetimeFigureOut">
              <a:rPr lang="en-ID" smtClean="0"/>
              <a:t>30/07/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539730-A217-E11E-0CE7-19C58E0BE9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961670-3383-A9F4-5387-53C2324E7D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A9A55-4227-4F73-85BE-0B161C93DF3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2045411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2767428-7158-B13E-2F32-2F02258E6F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F4770A-046F-424D-82A5-51CD6D78BCB9}" type="datetimeFigureOut">
              <a:rPr lang="en-ID" smtClean="0"/>
              <a:t>30/07/24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47B61F0-B797-7743-0EA9-E98A0A3C8E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D6FAAA-2A92-29D6-D4DB-3989971FF2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A9A55-4227-4F73-85BE-0B161C93DF3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231671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41DFA8-2A23-FD64-11BD-7814CF3873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35209F-E38C-1F8A-8A37-1CE82D51B5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3A0933-BCED-E2B8-3B5F-25D2A8FEB6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E60A7A-DE4A-432A-0DC7-4D448F817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F4770A-046F-424D-82A5-51CD6D78BCB9}" type="datetimeFigureOut">
              <a:rPr lang="en-ID" smtClean="0"/>
              <a:t>30/07/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11F148-205A-5973-1FFA-3F5C4FDC65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B55194-C99E-D119-3325-6A2544A06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A9A55-4227-4F73-85BE-0B161C93DF3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3314876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836EF-FCF1-226E-073C-F0967F78E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68AA651-C1B7-299F-81EF-22ED34D9758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A5BB68-EED9-1D7A-C020-07AA264DC73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3DBD9F-DAFF-50E8-73A3-9667685956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F4770A-046F-424D-82A5-51CD6D78BCB9}" type="datetimeFigureOut">
              <a:rPr lang="en-ID" smtClean="0"/>
              <a:t>30/07/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232AF4-6A92-9C47-54BD-3CEA74248D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6204DC-7529-14D8-C27C-374B9D1E5B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A9A55-4227-4F73-85BE-0B161C93DF3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572978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BE0FEE-4D89-8399-6171-A8C38BD74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01C5548-17C1-A396-770B-32E7660BF2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10EA84-AB16-4844-B59B-79DA4AC305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F4770A-046F-424D-82A5-51CD6D78BCB9}" type="datetimeFigureOut">
              <a:rPr lang="en-ID" smtClean="0"/>
              <a:t>30/07/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B0F2FE-8770-66A9-25DB-43A20EFBC2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86DB8A-8B77-0E46-05C9-D9130EA3E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A9A55-4227-4F73-85BE-0B161C93DF3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061450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BF1BED6-B007-902A-0C76-7A7AEE286AD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94E1E26-F14B-C425-E901-A62D4486F4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9FCA82-3C4E-2A9C-B454-AF9EE4A568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F4770A-046F-424D-82A5-51CD6D78BCB9}" type="datetimeFigureOut">
              <a:rPr lang="en-ID" smtClean="0"/>
              <a:t>30/07/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DF2249-35C9-1C47-2350-53365B7D5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557207-0597-48C5-57DA-1131600BBD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2A9A55-4227-4F73-85BE-0B161C93DF3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2306844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541992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3472" y="0"/>
            <a:ext cx="211223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3074" name="Picture 2" descr="E:\002-KIMS BUSINESS\007-02-Fullslidesppt-Contents\20161228\02-edu\bulb-item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645" y="1250975"/>
            <a:ext cx="2112235" cy="4687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E:\002-KIMS BUSINESS\007-02-Fullslidesppt-Contents\20161228\02-edu\bulb-item.png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1052646" y="1250975"/>
            <a:ext cx="1056117" cy="4687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00320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3472" y="0"/>
            <a:ext cx="211223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3074" name="Picture 2" descr="E:\002-KIMS BUSINESS\007-02-Fullslidesppt-Contents\20161228\02-edu\bulb-item2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314" y="3909054"/>
            <a:ext cx="1260665" cy="279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29326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4533123"/>
            <a:ext cx="12192000" cy="232487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40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64638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8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932723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67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sp>
        <p:nvSpPr>
          <p:cNvPr id="4" name="Oval 3"/>
          <p:cNvSpPr/>
          <p:nvPr userDrawn="1"/>
        </p:nvSpPr>
        <p:spPr>
          <a:xfrm>
            <a:off x="5391415" y="3813043"/>
            <a:ext cx="1440160" cy="1440160"/>
          </a:xfrm>
          <a:prstGeom prst="ellipse">
            <a:avLst/>
          </a:prstGeom>
          <a:solidFill>
            <a:schemeClr val="accent1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pic>
        <p:nvPicPr>
          <p:cNvPr id="5" name="Picture 2" descr="E:\002-KIMS BUSINESS\007-02-Fullslidesppt-Contents\20161228\02-edu\bulb-item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7409" y="4013590"/>
            <a:ext cx="468171" cy="1039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55926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E0ABEC-A109-471C-93F8-2FA9429F2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AB8E34-8D78-4131-944C-F1BE6C8DC9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13FE45-C943-4932-AC00-F5EDAEAB0A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43FD8AB-FE41-45DC-A862-376803E3C11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C50E907-50BF-4907-8370-647F097865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F198519-EB6F-4475-AB76-0433364F80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B9DF-1B8F-4A2B-B451-BB5D55E9D01B}" type="datetimeFigureOut">
              <a:rPr lang="en-US" smtClean="0"/>
              <a:t>7/29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DF03579-2650-410C-B500-0FF61E4324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7644B02-88D5-4DD0-9CB9-4811141499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61C1-E9C5-4FA5-944A-06B4AD9360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22726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64638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8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932723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67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6618000"/>
            <a:ext cx="12192000" cy="2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12192000" cy="9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252105797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64638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8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932723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67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31708061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and Contents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91344" y="123479"/>
            <a:ext cx="11809312" cy="6611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42176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800" b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MAGES &amp; CONTENT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10261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67" b="0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0" y="1797032"/>
            <a:ext cx="2880320" cy="24960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3103893" y="1797032"/>
            <a:ext cx="2880320" cy="24960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6207787" y="1797032"/>
            <a:ext cx="2880320" cy="24960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9311680" y="1797032"/>
            <a:ext cx="2880320" cy="24960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4293096"/>
            <a:ext cx="2880000" cy="21122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2" name="Rectangle 11"/>
          <p:cNvSpPr/>
          <p:nvPr userDrawn="1"/>
        </p:nvSpPr>
        <p:spPr>
          <a:xfrm>
            <a:off x="3104000" y="4293096"/>
            <a:ext cx="2880000" cy="21122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3" name="Rectangle 12"/>
          <p:cNvSpPr/>
          <p:nvPr userDrawn="1"/>
        </p:nvSpPr>
        <p:spPr>
          <a:xfrm>
            <a:off x="6208000" y="4293096"/>
            <a:ext cx="2880000" cy="21122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14" name="Rectangle 13"/>
          <p:cNvSpPr/>
          <p:nvPr userDrawn="1"/>
        </p:nvSpPr>
        <p:spPr>
          <a:xfrm>
            <a:off x="9312000" y="4293096"/>
            <a:ext cx="2880000" cy="21122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69661276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3909485"/>
            <a:ext cx="12192000" cy="29485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40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42176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8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MAGES &amp; CONTENT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10261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67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pic>
        <p:nvPicPr>
          <p:cNvPr id="5" name="Picture 3" descr="D:\Fullppt\005-PNG이미지\노트북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7701" y="1508787"/>
            <a:ext cx="9640360" cy="4903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017974" y="2168343"/>
            <a:ext cx="4620289" cy="341680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623392" y="4485118"/>
            <a:ext cx="4032448" cy="13441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110084622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42176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800" b="0" baseline="0"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MAGES &amp; CONTENT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10261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67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2346339"/>
            <a:ext cx="12192000" cy="29485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400"/>
          </a:p>
        </p:txBody>
      </p:sp>
      <p:pic>
        <p:nvPicPr>
          <p:cNvPr id="6" name="Picture 2" descr="D:\Fullppt\PNG이미지\핸드폰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0944" y="1389641"/>
            <a:ext cx="3825696" cy="4632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9840416" y="1566977"/>
            <a:ext cx="1344149" cy="340813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7524359" y="1681512"/>
            <a:ext cx="2206355" cy="340813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9244769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4079776" cy="68580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6480043" y="0"/>
            <a:ext cx="48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3" name="Rectangle 2"/>
          <p:cNvSpPr/>
          <p:nvPr userDrawn="1"/>
        </p:nvSpPr>
        <p:spPr>
          <a:xfrm>
            <a:off x="6528043" y="1749000"/>
            <a:ext cx="240000" cy="33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</p:spTree>
    <p:extLst>
      <p:ext uri="{BB962C8B-B14F-4D97-AF65-F5344CB8AC3E}">
        <p14:creationId xmlns:p14="http://schemas.microsoft.com/office/powerpoint/2010/main" val="103224323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mages and Contents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12192000" cy="41021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9371002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175787" y="242176"/>
            <a:ext cx="8016213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48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MAGES &amp; CONTENT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175787" y="1010261"/>
            <a:ext cx="8016213" cy="384043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4079776" cy="68580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4195293" y="1508787"/>
            <a:ext cx="4079776" cy="53492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7396181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548680"/>
            <a:ext cx="8592277" cy="5760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400"/>
          </a:p>
        </p:txBody>
      </p:sp>
      <p:sp>
        <p:nvSpPr>
          <p:cNvPr id="6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180829" y="260650"/>
            <a:ext cx="2592288" cy="63367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2965139" y="260650"/>
            <a:ext cx="2592288" cy="63367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5749448" y="260650"/>
            <a:ext cx="2592288" cy="63367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4946931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Images and Contents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8592277" y="356659"/>
            <a:ext cx="2880000" cy="28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8592277" y="3621021"/>
            <a:ext cx="2880000" cy="28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5314951" y="356659"/>
            <a:ext cx="2880000" cy="28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5314951" y="3621021"/>
            <a:ext cx="2880000" cy="288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51122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48DA42-4727-465E-8B7E-3F4AEA08F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EED423-1BC7-4179-B9B1-CFF2A9758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B9DF-1B8F-4A2B-B451-BB5D55E9D01B}" type="datetimeFigureOut">
              <a:rPr lang="en-US" smtClean="0"/>
              <a:t>7/29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65387C-3FE7-41C8-81F2-3E63A688B0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7EF38D-54C0-4DDC-B6CC-224BEA67D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61C1-E9C5-4FA5-944A-06B4AD9360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8989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27381" y="4389107"/>
            <a:ext cx="11664619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48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MAGES &amp; CONTENT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27381" y="5157192"/>
            <a:ext cx="11664619" cy="384043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6618000"/>
            <a:ext cx="12192000" cy="2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2192000" cy="9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/>
          </a:p>
        </p:txBody>
      </p:sp>
      <p:sp>
        <p:nvSpPr>
          <p:cNvPr id="7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623392" y="452669"/>
            <a:ext cx="4416171" cy="374409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5327915" y="452669"/>
            <a:ext cx="6240693" cy="177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5327915" y="2420765"/>
            <a:ext cx="1920000" cy="177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7488261" y="2420765"/>
            <a:ext cx="1920000" cy="177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9648608" y="2420765"/>
            <a:ext cx="1920000" cy="177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3859518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apes se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12347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altLang="ko-KR" dirty="0"/>
              <a:t>Fully Editable Shapes</a:t>
            </a:r>
          </a:p>
        </p:txBody>
      </p:sp>
    </p:spTree>
    <p:extLst>
      <p:ext uri="{BB962C8B-B14F-4D97-AF65-F5344CB8AC3E}">
        <p14:creationId xmlns:p14="http://schemas.microsoft.com/office/powerpoint/2010/main" val="139854398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64638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8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sp>
        <p:nvSpPr>
          <p:cNvPr id="11" name="Rounded Rectangle 10"/>
          <p:cNvSpPr/>
          <p:nvPr userDrawn="1"/>
        </p:nvSpPr>
        <p:spPr>
          <a:xfrm>
            <a:off x="472011" y="1508786"/>
            <a:ext cx="3799787" cy="4865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 dirty="0"/>
          </a:p>
        </p:txBody>
      </p:sp>
      <p:sp>
        <p:nvSpPr>
          <p:cNvPr id="17" name="Rounded Rectangle 16"/>
          <p:cNvSpPr/>
          <p:nvPr userDrawn="1"/>
        </p:nvSpPr>
        <p:spPr>
          <a:xfrm>
            <a:off x="709243" y="1796667"/>
            <a:ext cx="144693" cy="4320631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solidFill>
                <a:schemeClr val="bg1"/>
              </a:solidFill>
            </a:endParaRPr>
          </a:p>
        </p:txBody>
      </p:sp>
      <p:sp>
        <p:nvSpPr>
          <p:cNvPr id="18" name="Half Frame 17"/>
          <p:cNvSpPr/>
          <p:nvPr userDrawn="1"/>
        </p:nvSpPr>
        <p:spPr>
          <a:xfrm rot="5400000">
            <a:off x="3456857" y="1650935"/>
            <a:ext cx="669775" cy="669775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60135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092921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9C9685-042D-45F6-B7EF-5EFFF66755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B24EC3-D815-495D-931A-0685D08783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EB39FB-ED40-4085-8B56-BE26605C04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0A62C3-D747-48D8-BBC1-E58835F6C479}" type="datetimeFigureOut">
              <a:rPr lang="en-US" smtClean="0"/>
              <a:t>7/3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B99959-C02F-415F-8F52-172A19F833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7E8EBB-5E48-48F9-BCE5-583AEA64DD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393536-07DB-4B22-9DAB-7B5E1B0B19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690649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2DEF9B-80FA-40DE-B067-DE0E738B0D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1D215C-1B19-495D-9829-A294655AC3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D80B62-BB82-4898-9372-B03610F030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0A62C3-D747-48D8-BBC1-E58835F6C479}" type="datetimeFigureOut">
              <a:rPr lang="en-US" smtClean="0"/>
              <a:t>7/3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59C721-A562-4A56-A67C-7F475EFA0A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644758-4937-4046-9CE9-468D3B9930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393536-07DB-4B22-9DAB-7B5E1B0B19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27599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5E8CDF-3E9C-41F1-B068-E979ACC531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A0B910-565A-4E2C-A810-52B51B5142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B88C4C-75F7-4861-B0B8-CF4FCD1E77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0A62C3-D747-48D8-BBC1-E58835F6C479}" type="datetimeFigureOut">
              <a:rPr lang="en-US" smtClean="0"/>
              <a:t>7/3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2C5123-D252-44CA-AF94-BA4FF47AC1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A1DCCA-4B01-441C-A9BE-86319AD71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393536-07DB-4B22-9DAB-7B5E1B0B19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136314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2F6D41-D673-46E9-9D8A-7C1FBE33BC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2AA33C-C6D9-4B94-8576-98C7B8975EE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0515D7F-CF96-4E1E-8062-843CCFA2DC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9ED08A-1A05-4365-90EB-EA77CE3CE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0A62C3-D747-48D8-BBC1-E58835F6C479}" type="datetimeFigureOut">
              <a:rPr lang="en-US" smtClean="0"/>
              <a:t>7/3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83C927-7B2C-4949-9B04-CB7D4C4DAE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0122A3-59ED-4B11-B1BD-D3B5BFF5D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393536-07DB-4B22-9DAB-7B5E1B0B19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57014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406328-DFFE-457D-B9A1-D54537FB3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0C4289-4045-4AE7-9694-D1B01C2306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173672-7C10-41F4-BB65-ACE10618A2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DFD3EC3-E570-4422-9909-8ECC88EF93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69D7071-B6FE-4EFF-8DE8-B3121C34CC4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1C0AB78-3550-44D1-8CF6-A906DBFC32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0A62C3-D747-48D8-BBC1-E58835F6C479}" type="datetimeFigureOut">
              <a:rPr lang="en-US" smtClean="0"/>
              <a:t>7/30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95917FF-6E7D-4BFE-A2BF-5C95940736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BC8F3AC-1A9F-49B9-9E7A-0A32D333F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393536-07DB-4B22-9DAB-7B5E1B0B19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09187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50007D-09C6-40A0-BB9E-FC8606BDD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517695-B986-40D7-A7EF-6603200E30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0A62C3-D747-48D8-BBC1-E58835F6C479}" type="datetimeFigureOut">
              <a:rPr lang="en-US" smtClean="0"/>
              <a:t>7/3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11EC549-FBA7-46F0-8360-5CB9D58989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3D281F-8D65-421A-A9FD-F501839C61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393536-07DB-4B22-9DAB-7B5E1B0B19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3114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8D874B9-65D0-4813-8508-183541D8B8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B9DF-1B8F-4A2B-B451-BB5D55E9D01B}" type="datetimeFigureOut">
              <a:rPr lang="en-US" smtClean="0"/>
              <a:t>7/29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BAA891-1E49-4CD2-AC1F-DBF4B5FC41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DD2420-EA26-4316-B445-821BA5C79F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61C1-E9C5-4FA5-944A-06B4AD9360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23226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D61EC5A-80A3-4AE4-B763-73501C8AFD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0A62C3-D747-48D8-BBC1-E58835F6C479}" type="datetimeFigureOut">
              <a:rPr lang="en-US" smtClean="0"/>
              <a:t>7/30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050133-29B9-47FF-BEA0-9A7AFC124B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C12803-5443-4A3E-B7F0-AB36FC63EC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393536-07DB-4B22-9DAB-7B5E1B0B19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930890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457296-AD5E-49AC-AA1A-73DB8C47F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130715-558F-45A3-B9FC-D2E9F17257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A8F66D-0915-4AC9-8A7D-5B4BBF3D01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23FD1A-D8F6-4D72-AE1B-32AF716856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0A62C3-D747-48D8-BBC1-E58835F6C479}" type="datetimeFigureOut">
              <a:rPr lang="en-US" smtClean="0"/>
              <a:t>7/3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47C9625-FF19-49BC-836D-783250A8CA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BFD49B-AB9F-4FEA-9694-79DD9F90D1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393536-07DB-4B22-9DAB-7B5E1B0B19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2907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28623E-760C-4549-AAA9-21A1F1DFB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3BD9578-5B94-41D0-9B8E-FA0BA8BC73B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A9A3AD-1CFB-44CA-88AC-71D365F072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1BB4F2F-39F6-4342-A998-54E79C9B80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0A62C3-D747-48D8-BBC1-E58835F6C479}" type="datetimeFigureOut">
              <a:rPr lang="en-US" smtClean="0"/>
              <a:t>7/3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25B8A9-008A-42F4-91C3-690A8665F7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0CB214-B91E-4C15-AF57-A9B16232D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393536-07DB-4B22-9DAB-7B5E1B0B19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6669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E1F540-0E39-4113-BAA0-9ED56082DF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D4EE52C-D999-4E35-9B13-B748C82BC5C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BFD167-CD61-469D-B291-BAC2ECC39D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0A62C3-D747-48D8-BBC1-E58835F6C479}" type="datetimeFigureOut">
              <a:rPr lang="en-US" smtClean="0"/>
              <a:t>7/3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53CF9D-1226-49D9-B37B-21BBE84A6E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CD2555-D013-45A2-93EE-53F1F23D75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393536-07DB-4B22-9DAB-7B5E1B0B19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237651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4088095-B01E-4B27-8EE0-B37A7E5F95D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E70A5C-BF10-4EF2-A400-96307EABC9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ABD3C3-1B3C-4A4E-A400-8F0F3CD97A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0A62C3-D747-48D8-BBC1-E58835F6C479}" type="datetimeFigureOut">
              <a:rPr lang="en-US" smtClean="0"/>
              <a:t>7/3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5A9DCA-0A78-4320-A60C-056E5032A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8E0122-3AD0-4DF4-8591-1F631ECF9C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393536-07DB-4B22-9DAB-7B5E1B0B19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350765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 layout">
    <p:bg>
      <p:bgPr>
        <a:gradFill flip="none" rotWithShape="1">
          <a:gsLst>
            <a:gs pos="41000">
              <a:schemeClr val="accent1">
                <a:lumMod val="0"/>
                <a:lumOff val="100000"/>
              </a:schemeClr>
            </a:gs>
            <a:gs pos="75000">
              <a:schemeClr val="bg1">
                <a:lumMod val="85000"/>
              </a:schemeClr>
            </a:gs>
            <a:gs pos="97000">
              <a:schemeClr val="bg1">
                <a:lumMod val="75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793492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714564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3" name="Rectangle: Top Corners Rounded 2">
            <a:extLst>
              <a:ext uri="{FF2B5EF4-FFF2-40B4-BE49-F238E27FC236}">
                <a16:creationId xmlns:a16="http://schemas.microsoft.com/office/drawing/2014/main" id="{EFC97D53-FA99-4CBD-AB1D-83FFB3BD488F}"/>
              </a:ext>
            </a:extLst>
          </p:cNvPr>
          <p:cNvSpPr/>
          <p:nvPr userDrawn="1"/>
        </p:nvSpPr>
        <p:spPr>
          <a:xfrm rot="5400000">
            <a:off x="4877311" y="1608819"/>
            <a:ext cx="138403" cy="989302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B8A79FB9-F5E9-41A6-86D2-806115F5E6D1}"/>
              </a:ext>
            </a:extLst>
          </p:cNvPr>
          <p:cNvSpPr/>
          <p:nvPr userDrawn="1"/>
        </p:nvSpPr>
        <p:spPr>
          <a:xfrm rot="16200000" flipH="1">
            <a:off x="11665598" y="6098134"/>
            <a:ext cx="138403" cy="9144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03D248-C1F6-4A2E-BEBE-761B2FBA9433}"/>
              </a:ext>
            </a:extLst>
          </p:cNvPr>
          <p:cNvSpPr txBox="1"/>
          <p:nvPr userDrawn="1"/>
        </p:nvSpPr>
        <p:spPr>
          <a:xfrm>
            <a:off x="9893028" y="6386058"/>
            <a:ext cx="1384572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dist"/>
            <a:r>
              <a:rPr lang="en-US" altLang="ko-KR" sz="1600" b="1" dirty="0">
                <a:solidFill>
                  <a:schemeClr val="accent1"/>
                </a:solidFill>
                <a:latin typeface="+mn-lt"/>
                <a:cs typeface="Arial" pitchFamily="34" charset="0"/>
              </a:rPr>
              <a:t>Real Estate</a:t>
            </a:r>
            <a:endParaRPr lang="ko-KR" altLang="en-US" sz="1600" b="1" dirty="0">
              <a:solidFill>
                <a:schemeClr val="accent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820552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 layout">
    <p:bg>
      <p:bgPr>
        <a:gradFill flip="none" rotWithShape="1">
          <a:gsLst>
            <a:gs pos="0">
              <a:schemeClr val="bg1">
                <a:lumMod val="75000"/>
              </a:schemeClr>
            </a:gs>
            <a:gs pos="50000">
              <a:schemeClr val="accent1">
                <a:lumMod val="0"/>
                <a:lumOff val="100000"/>
              </a:schemeClr>
            </a:gs>
            <a:gs pos="100000">
              <a:schemeClr val="bg1">
                <a:lumMod val="75000"/>
              </a:schemeClr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618950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5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자유형: 도형 5">
            <a:extLst>
              <a:ext uri="{FF2B5EF4-FFF2-40B4-BE49-F238E27FC236}">
                <a16:creationId xmlns:a16="http://schemas.microsoft.com/office/drawing/2014/main" id="{BC0FA2A0-2070-4162-B90B-85498321A141}"/>
              </a:ext>
            </a:extLst>
          </p:cNvPr>
          <p:cNvSpPr/>
          <p:nvPr userDrawn="1"/>
        </p:nvSpPr>
        <p:spPr>
          <a:xfrm>
            <a:off x="5895975" y="0"/>
            <a:ext cx="5979207" cy="6858000"/>
          </a:xfrm>
          <a:custGeom>
            <a:avLst/>
            <a:gdLst>
              <a:gd name="connsiteX0" fmla="*/ 102129 w 5979207"/>
              <a:gd name="connsiteY0" fmla="*/ 0 h 6858000"/>
              <a:gd name="connsiteX1" fmla="*/ 2568591 w 5979207"/>
              <a:gd name="connsiteY1" fmla="*/ 0 h 6858000"/>
              <a:gd name="connsiteX2" fmla="*/ 3429043 w 5979207"/>
              <a:gd name="connsiteY2" fmla="*/ 1911463 h 6858000"/>
              <a:gd name="connsiteX3" fmla="*/ 4432480 w 5979207"/>
              <a:gd name="connsiteY3" fmla="*/ 0 h 6858000"/>
              <a:gd name="connsiteX4" fmla="*/ 5979207 w 5979207"/>
              <a:gd name="connsiteY4" fmla="*/ 0 h 6858000"/>
              <a:gd name="connsiteX5" fmla="*/ 5979207 w 5979207"/>
              <a:gd name="connsiteY5" fmla="*/ 1317813 h 6858000"/>
              <a:gd name="connsiteX6" fmla="*/ 4875315 w 5979207"/>
              <a:gd name="connsiteY6" fmla="*/ 3267558 h 6858000"/>
              <a:gd name="connsiteX7" fmla="*/ 5979207 w 5979207"/>
              <a:gd name="connsiteY7" fmla="*/ 5266500 h 6858000"/>
              <a:gd name="connsiteX8" fmla="*/ 5979207 w 5979207"/>
              <a:gd name="connsiteY8" fmla="*/ 6858000 h 6858000"/>
              <a:gd name="connsiteX9" fmla="*/ 4432480 w 5979207"/>
              <a:gd name="connsiteY9" fmla="*/ 6858000 h 6858000"/>
              <a:gd name="connsiteX10" fmla="*/ 3429043 w 5979207"/>
              <a:gd name="connsiteY10" fmla="*/ 4649491 h 6858000"/>
              <a:gd name="connsiteX11" fmla="*/ 2251989 w 5979207"/>
              <a:gd name="connsiteY11" fmla="*/ 6858000 h 6858000"/>
              <a:gd name="connsiteX12" fmla="*/ 0 w 5979207"/>
              <a:gd name="connsiteY12" fmla="*/ 6858000 h 6858000"/>
              <a:gd name="connsiteX13" fmla="*/ 1969690 w 5979207"/>
              <a:gd name="connsiteY13" fmla="*/ 326755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979207" h="6858000">
                <a:moveTo>
                  <a:pt x="102129" y="0"/>
                </a:moveTo>
                <a:lnTo>
                  <a:pt x="2568591" y="0"/>
                </a:lnTo>
                <a:lnTo>
                  <a:pt x="3429043" y="1911463"/>
                </a:lnTo>
                <a:lnTo>
                  <a:pt x="4432480" y="0"/>
                </a:lnTo>
                <a:lnTo>
                  <a:pt x="5979207" y="0"/>
                </a:lnTo>
                <a:lnTo>
                  <a:pt x="5979207" y="1317813"/>
                </a:lnTo>
                <a:lnTo>
                  <a:pt x="4875315" y="3267558"/>
                </a:lnTo>
                <a:lnTo>
                  <a:pt x="5979207" y="5266500"/>
                </a:lnTo>
                <a:lnTo>
                  <a:pt x="5979207" y="6858000"/>
                </a:lnTo>
                <a:lnTo>
                  <a:pt x="4432480" y="6858000"/>
                </a:lnTo>
                <a:lnTo>
                  <a:pt x="3429043" y="4649491"/>
                </a:lnTo>
                <a:lnTo>
                  <a:pt x="2251989" y="6858000"/>
                </a:lnTo>
                <a:lnTo>
                  <a:pt x="0" y="6858000"/>
                </a:lnTo>
                <a:lnTo>
                  <a:pt x="1969690" y="3267558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자유형: 도형 4">
            <a:extLst>
              <a:ext uri="{FF2B5EF4-FFF2-40B4-BE49-F238E27FC236}">
                <a16:creationId xmlns:a16="http://schemas.microsoft.com/office/drawing/2014/main" id="{B5410258-795E-46FD-86D0-616F7BF2BB04}"/>
              </a:ext>
            </a:extLst>
          </p:cNvPr>
          <p:cNvSpPr/>
          <p:nvPr userDrawn="1"/>
        </p:nvSpPr>
        <p:spPr>
          <a:xfrm>
            <a:off x="6054384" y="0"/>
            <a:ext cx="5979207" cy="6858000"/>
          </a:xfrm>
          <a:custGeom>
            <a:avLst/>
            <a:gdLst>
              <a:gd name="connsiteX0" fmla="*/ 102129 w 5979207"/>
              <a:gd name="connsiteY0" fmla="*/ 0 h 6858000"/>
              <a:gd name="connsiteX1" fmla="*/ 2568591 w 5979207"/>
              <a:gd name="connsiteY1" fmla="*/ 0 h 6858000"/>
              <a:gd name="connsiteX2" fmla="*/ 3429043 w 5979207"/>
              <a:gd name="connsiteY2" fmla="*/ 1911463 h 6858000"/>
              <a:gd name="connsiteX3" fmla="*/ 4432480 w 5979207"/>
              <a:gd name="connsiteY3" fmla="*/ 0 h 6858000"/>
              <a:gd name="connsiteX4" fmla="*/ 5979207 w 5979207"/>
              <a:gd name="connsiteY4" fmla="*/ 0 h 6858000"/>
              <a:gd name="connsiteX5" fmla="*/ 5979207 w 5979207"/>
              <a:gd name="connsiteY5" fmla="*/ 1317813 h 6858000"/>
              <a:gd name="connsiteX6" fmla="*/ 4875315 w 5979207"/>
              <a:gd name="connsiteY6" fmla="*/ 3267558 h 6858000"/>
              <a:gd name="connsiteX7" fmla="*/ 5979207 w 5979207"/>
              <a:gd name="connsiteY7" fmla="*/ 5266500 h 6858000"/>
              <a:gd name="connsiteX8" fmla="*/ 5979207 w 5979207"/>
              <a:gd name="connsiteY8" fmla="*/ 6858000 h 6858000"/>
              <a:gd name="connsiteX9" fmla="*/ 4432480 w 5979207"/>
              <a:gd name="connsiteY9" fmla="*/ 6858000 h 6858000"/>
              <a:gd name="connsiteX10" fmla="*/ 3429043 w 5979207"/>
              <a:gd name="connsiteY10" fmla="*/ 4649491 h 6858000"/>
              <a:gd name="connsiteX11" fmla="*/ 2251989 w 5979207"/>
              <a:gd name="connsiteY11" fmla="*/ 6858000 h 6858000"/>
              <a:gd name="connsiteX12" fmla="*/ 0 w 5979207"/>
              <a:gd name="connsiteY12" fmla="*/ 6858000 h 6858000"/>
              <a:gd name="connsiteX13" fmla="*/ 1969690 w 5979207"/>
              <a:gd name="connsiteY13" fmla="*/ 326755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979207" h="6858000">
                <a:moveTo>
                  <a:pt x="102129" y="0"/>
                </a:moveTo>
                <a:lnTo>
                  <a:pt x="2568591" y="0"/>
                </a:lnTo>
                <a:lnTo>
                  <a:pt x="3429043" y="1911463"/>
                </a:lnTo>
                <a:lnTo>
                  <a:pt x="4432480" y="0"/>
                </a:lnTo>
                <a:lnTo>
                  <a:pt x="5979207" y="0"/>
                </a:lnTo>
                <a:lnTo>
                  <a:pt x="5979207" y="1317813"/>
                </a:lnTo>
                <a:lnTo>
                  <a:pt x="4875315" y="3267558"/>
                </a:lnTo>
                <a:lnTo>
                  <a:pt x="5979207" y="5266500"/>
                </a:lnTo>
                <a:lnTo>
                  <a:pt x="5979207" y="6858000"/>
                </a:lnTo>
                <a:lnTo>
                  <a:pt x="4432480" y="6858000"/>
                </a:lnTo>
                <a:lnTo>
                  <a:pt x="3429043" y="4649491"/>
                </a:lnTo>
                <a:lnTo>
                  <a:pt x="2251989" y="6858000"/>
                </a:lnTo>
                <a:lnTo>
                  <a:pt x="0" y="6858000"/>
                </a:lnTo>
                <a:lnTo>
                  <a:pt x="1969690" y="326755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0" name="그림 개체 틀 9">
            <a:extLst>
              <a:ext uri="{FF2B5EF4-FFF2-40B4-BE49-F238E27FC236}">
                <a16:creationId xmlns:a16="http://schemas.microsoft.com/office/drawing/2014/main" id="{8D51066F-07ED-45ED-AA6F-CCB56128CE23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6212793" y="0"/>
            <a:ext cx="5979207" cy="6858000"/>
          </a:xfrm>
          <a:custGeom>
            <a:avLst/>
            <a:gdLst>
              <a:gd name="connsiteX0" fmla="*/ 94573 w 5536832"/>
              <a:gd name="connsiteY0" fmla="*/ 0 h 6858000"/>
              <a:gd name="connsiteX1" fmla="*/ 2378552 w 5536832"/>
              <a:gd name="connsiteY1" fmla="*/ 0 h 6858000"/>
              <a:gd name="connsiteX2" fmla="*/ 3175343 w 5536832"/>
              <a:gd name="connsiteY2" fmla="*/ 1911463 h 6858000"/>
              <a:gd name="connsiteX3" fmla="*/ 4104540 w 5536832"/>
              <a:gd name="connsiteY3" fmla="*/ 0 h 6858000"/>
              <a:gd name="connsiteX4" fmla="*/ 5536832 w 5536832"/>
              <a:gd name="connsiteY4" fmla="*/ 0 h 6858000"/>
              <a:gd name="connsiteX5" fmla="*/ 5536832 w 5536832"/>
              <a:gd name="connsiteY5" fmla="*/ 1317813 h 6858000"/>
              <a:gd name="connsiteX6" fmla="*/ 4514612 w 5536832"/>
              <a:gd name="connsiteY6" fmla="*/ 3267558 h 6858000"/>
              <a:gd name="connsiteX7" fmla="*/ 5536832 w 5536832"/>
              <a:gd name="connsiteY7" fmla="*/ 5266500 h 6858000"/>
              <a:gd name="connsiteX8" fmla="*/ 5536832 w 5536832"/>
              <a:gd name="connsiteY8" fmla="*/ 6858000 h 6858000"/>
              <a:gd name="connsiteX9" fmla="*/ 4104540 w 5536832"/>
              <a:gd name="connsiteY9" fmla="*/ 6858000 h 6858000"/>
              <a:gd name="connsiteX10" fmla="*/ 3175343 w 5536832"/>
              <a:gd name="connsiteY10" fmla="*/ 4649491 h 6858000"/>
              <a:gd name="connsiteX11" fmla="*/ 2085374 w 5536832"/>
              <a:gd name="connsiteY11" fmla="*/ 6858000 h 6858000"/>
              <a:gd name="connsiteX12" fmla="*/ 0 w 5536832"/>
              <a:gd name="connsiteY12" fmla="*/ 6858000 h 6858000"/>
              <a:gd name="connsiteX13" fmla="*/ 1823961 w 5536832"/>
              <a:gd name="connsiteY13" fmla="*/ 326755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536832" h="6858000">
                <a:moveTo>
                  <a:pt x="94573" y="0"/>
                </a:moveTo>
                <a:lnTo>
                  <a:pt x="2378552" y="0"/>
                </a:lnTo>
                <a:lnTo>
                  <a:pt x="3175343" y="1911463"/>
                </a:lnTo>
                <a:lnTo>
                  <a:pt x="4104540" y="0"/>
                </a:lnTo>
                <a:lnTo>
                  <a:pt x="5536832" y="0"/>
                </a:lnTo>
                <a:lnTo>
                  <a:pt x="5536832" y="1317813"/>
                </a:lnTo>
                <a:lnTo>
                  <a:pt x="4514612" y="3267558"/>
                </a:lnTo>
                <a:lnTo>
                  <a:pt x="5536832" y="5266500"/>
                </a:lnTo>
                <a:lnTo>
                  <a:pt x="5536832" y="6858000"/>
                </a:lnTo>
                <a:lnTo>
                  <a:pt x="4104540" y="6858000"/>
                </a:lnTo>
                <a:lnTo>
                  <a:pt x="3175343" y="4649491"/>
                </a:lnTo>
                <a:lnTo>
                  <a:pt x="2085374" y="6858000"/>
                </a:lnTo>
                <a:lnTo>
                  <a:pt x="0" y="6858000"/>
                </a:lnTo>
                <a:lnTo>
                  <a:pt x="1823961" y="326755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15265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81AD1-9C0A-46C5-A2B9-1CE7A8761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AD67E2-2768-41B8-BF4C-1A0AE53809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86CA53-C65F-4817-BCCF-13A897098D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F17E7E-B0FA-4D44-8D48-51F8B8EFEC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B9DF-1B8F-4A2B-B451-BB5D55E9D01B}" type="datetimeFigureOut">
              <a:rPr lang="en-US" smtClean="0"/>
              <a:t>7/29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2F18A6-96EF-47F8-9D64-C2DEC8FFA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BF19A1-DFC1-4D98-B207-8CEBCBEFF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61C1-E9C5-4FA5-944A-06B4AD9360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5775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BBAD72-7FD0-4559-A2F0-BB8207E30A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C7D9604-C28C-4855-9987-883976D9E21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F123F4-4DFC-4B8C-B1AD-D554E9D96C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3F5594-C99A-42D4-8175-B3E0A62329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B9DF-1B8F-4A2B-B451-BB5D55E9D01B}" type="datetimeFigureOut">
              <a:rPr lang="en-US" smtClean="0"/>
              <a:t>7/29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70F049-3584-4EA3-B003-B6D73E4B6F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3BC892-003E-429C-8A17-75C1755013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61C1-E9C5-4FA5-944A-06B4AD9360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160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B2766C9-A539-4A72-9F9D-BBF6DAEC9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EF0C62-F5B9-459A-8C2A-6A255385E1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1EB493-0A66-4128-9ABA-6F893EFAD0B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6EB9DF-1B8F-4A2B-B451-BB5D55E9D01B}" type="datetimeFigureOut">
              <a:rPr lang="en-US" smtClean="0"/>
              <a:t>7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1BEA6F-3FF0-4071-BB07-95DC6E279D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40770F-D59F-45E9-8E59-4A050455D2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FD61C1-E9C5-4FA5-944A-06B4AD9360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238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B4271A-A4E7-B447-251A-E4704D8142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013D3B-0E02-41FF-1936-28681C9D03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BE0610-CC5A-EDBB-5A4B-2E954C6CF4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79C0D4-9135-4CC9-8D7B-7E0C57697876}" type="datetimeFigureOut">
              <a:rPr lang="en-ID" smtClean="0"/>
              <a:t>29/07/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B91B91-2CEA-7856-C20D-CC8F29E885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D9D0C4-841E-E253-6A1B-0E930C69AB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CCDF31-9A18-49F7-81B8-40E6694AAC2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226109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082C63-43A7-7A4D-BE70-4B657FAA160E}" type="datetimeFigureOut">
              <a:rPr lang="en-US" smtClean="0"/>
              <a:t>7/30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9E008D-C99D-094D-A5C9-59FBEE1DA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412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88BBFB2-CD8C-E15C-9D03-AAAE14802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842FAE-F281-C359-DD84-3CE22D3584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2C4C18-1E38-1E22-064D-BA3489F1B5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F4770A-046F-424D-82A5-51CD6D78BCB9}" type="datetimeFigureOut">
              <a:rPr lang="en-ID" smtClean="0"/>
              <a:t>30/07/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98F20B-A549-D8A0-E538-C082D18E81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1CA283-91E2-3E22-65C1-0CF4E08D13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2A9A55-4227-4F73-85BE-0B161C93DF35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18084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19362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</p:sldLayoutIdLst>
  <p:txStyles>
    <p:titleStyle>
      <a:lvl1pPr algn="ctr" defTabSz="1219170" rtl="0" eaLnBrk="1" latinLnBrk="1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1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1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1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1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3AEBB29-A3D7-4F4E-BA3E-909AB1F8E6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B25343-435E-465B-81E9-312EE38459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5042C8-A502-4610-A7B7-C97FDA021A8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0A62C3-D747-48D8-BBC1-E58835F6C479}" type="datetimeFigureOut">
              <a:rPr lang="en-US" smtClean="0"/>
              <a:t>7/3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2AECAB-A429-4863-B31F-7F35A9E213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99CE8F-8BED-4846-80DB-3AAAA3DA54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393536-07DB-4B22-9DAB-7B5E1B0B19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868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59" r:id="rId13"/>
    <p:sldLayoutId id="2147483760" r:id="rId14"/>
    <p:sldLayoutId id="2147483761" r:id="rId15"/>
    <p:sldLayoutId id="2147483762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2.xml"/><Relationship Id="rId6" Type="http://schemas.openxmlformats.org/officeDocument/2006/relationships/image" Target="../media/image1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2.jpeg"/><Relationship Id="rId12" Type="http://schemas.openxmlformats.org/officeDocument/2006/relationships/image" Target="../media/image11.jpeg"/><Relationship Id="rId2" Type="http://schemas.openxmlformats.org/officeDocument/2006/relationships/slideLayout" Target="../slideLayouts/slideLayout70.xml"/><Relationship Id="rId1" Type="http://schemas.openxmlformats.org/officeDocument/2006/relationships/tags" Target="../tags/tag3.xml"/><Relationship Id="rId6" Type="http://schemas.openxmlformats.org/officeDocument/2006/relationships/image" Target="../media/image12.png"/><Relationship Id="rId11" Type="http://schemas.openxmlformats.org/officeDocument/2006/relationships/image" Target="../media/image16.png"/><Relationship Id="rId5" Type="http://schemas.openxmlformats.org/officeDocument/2006/relationships/image" Target="../media/image21.emf"/><Relationship Id="rId10" Type="http://schemas.microsoft.com/office/2007/relationships/hdphoto" Target="../media/hdphoto1.wdp"/><Relationship Id="rId4" Type="http://schemas.openxmlformats.org/officeDocument/2006/relationships/oleObject" Target="../embeddings/oleObject3.bin"/><Relationship Id="rId9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2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2.png"/><Relationship Id="rId5" Type="http://schemas.microsoft.com/office/2007/relationships/hdphoto" Target="../media/hdphoto2.wdp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1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1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.xml"/><Relationship Id="rId6" Type="http://schemas.openxmlformats.org/officeDocument/2006/relationships/image" Target="../media/image15.jpeg"/><Relationship Id="rId5" Type="http://schemas.openxmlformats.org/officeDocument/2006/relationships/image" Target="../media/image14.emf"/><Relationship Id="rId10" Type="http://schemas.openxmlformats.org/officeDocument/2006/relationships/image" Target="../media/image16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.png"/><Relationship Id="rId4" Type="http://schemas.openxmlformats.org/officeDocument/2006/relationships/image" Target="../media/image1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.png"/><Relationship Id="rId4" Type="http://schemas.openxmlformats.org/officeDocument/2006/relationships/image" Target="../media/image1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jpeg"/><Relationship Id="rId4" Type="http://schemas.openxmlformats.org/officeDocument/2006/relationships/image" Target="../media/image1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13" Type="http://schemas.openxmlformats.org/officeDocument/2006/relationships/image" Target="../media/image11.jpe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12" Type="http://schemas.openxmlformats.org/officeDocument/2006/relationships/image" Target="../media/image3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jpeg"/><Relationship Id="rId11" Type="http://schemas.openxmlformats.org/officeDocument/2006/relationships/image" Target="../media/image36.png"/><Relationship Id="rId5" Type="http://schemas.openxmlformats.org/officeDocument/2006/relationships/image" Target="../media/image31.jpeg"/><Relationship Id="rId15" Type="http://schemas.openxmlformats.org/officeDocument/2006/relationships/image" Target="../media/image39.png"/><Relationship Id="rId10" Type="http://schemas.openxmlformats.org/officeDocument/2006/relationships/image" Target="../media/image35.png"/><Relationship Id="rId4" Type="http://schemas.openxmlformats.org/officeDocument/2006/relationships/image" Target="../media/image30.jpeg"/><Relationship Id="rId9" Type="http://schemas.openxmlformats.org/officeDocument/2006/relationships/image" Target="../media/image12.png"/><Relationship Id="rId14" Type="http://schemas.openxmlformats.org/officeDocument/2006/relationships/image" Target="../media/image38.png"/></Relationships>
</file>

<file path=ppt/slides/_rels/slide28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13" Type="http://schemas.openxmlformats.org/officeDocument/2006/relationships/image" Target="../media/image45.png"/><Relationship Id="rId3" Type="http://schemas.openxmlformats.org/officeDocument/2006/relationships/image" Target="../media/image40.png"/><Relationship Id="rId7" Type="http://schemas.openxmlformats.org/officeDocument/2006/relationships/image" Target="../media/image42.png"/><Relationship Id="rId12" Type="http://schemas.microsoft.com/office/2007/relationships/hdphoto" Target="../media/hdphoto7.wdp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microsoft.com/office/2007/relationships/hdphoto" Target="../media/hdphoto4.wdp"/><Relationship Id="rId11" Type="http://schemas.openxmlformats.org/officeDocument/2006/relationships/image" Target="../media/image44.png"/><Relationship Id="rId5" Type="http://schemas.openxmlformats.org/officeDocument/2006/relationships/image" Target="../media/image41.png"/><Relationship Id="rId15" Type="http://schemas.openxmlformats.org/officeDocument/2006/relationships/image" Target="../media/image16.png"/><Relationship Id="rId10" Type="http://schemas.microsoft.com/office/2007/relationships/hdphoto" Target="../media/hdphoto6.wdp"/><Relationship Id="rId4" Type="http://schemas.microsoft.com/office/2007/relationships/hdphoto" Target="../media/hdphoto3.wdp"/><Relationship Id="rId9" Type="http://schemas.openxmlformats.org/officeDocument/2006/relationships/image" Target="../media/image43.png"/><Relationship Id="rId14" Type="http://schemas.microsoft.com/office/2007/relationships/hdphoto" Target="../media/hdphoto8.wdp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11.jpeg"/><Relationship Id="rId4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jpeg"/><Relationship Id="rId4" Type="http://schemas.openxmlformats.org/officeDocument/2006/relationships/image" Target="../media/image16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sv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1.svg"/><Relationship Id="rId11" Type="http://schemas.openxmlformats.org/officeDocument/2006/relationships/image" Target="../media/image12.png"/><Relationship Id="rId5" Type="http://schemas.openxmlformats.org/officeDocument/2006/relationships/image" Target="../media/image50.png"/><Relationship Id="rId10" Type="http://schemas.openxmlformats.org/officeDocument/2006/relationships/image" Target="../media/image55.svg"/><Relationship Id="rId4" Type="http://schemas.openxmlformats.org/officeDocument/2006/relationships/image" Target="../media/image49.svg"/><Relationship Id="rId9" Type="http://schemas.openxmlformats.org/officeDocument/2006/relationships/image" Target="../media/image54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tiff"/><Relationship Id="rId13" Type="http://schemas.openxmlformats.org/officeDocument/2006/relationships/hyperlink" Target="https://about.gitlab.com/stages-devops-lifecycle/continuous-integration/" TargetMode="External"/><Relationship Id="rId3" Type="http://schemas.openxmlformats.org/officeDocument/2006/relationships/image" Target="../media/image56.tiff"/><Relationship Id="rId7" Type="http://schemas.openxmlformats.org/officeDocument/2006/relationships/image" Target="../media/image60.tiff"/><Relationship Id="rId12" Type="http://schemas.openxmlformats.org/officeDocument/2006/relationships/image" Target="../media/image6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tiff"/><Relationship Id="rId11" Type="http://schemas.openxmlformats.org/officeDocument/2006/relationships/image" Target="../media/image64.png"/><Relationship Id="rId5" Type="http://schemas.openxmlformats.org/officeDocument/2006/relationships/image" Target="../media/image58.tiff"/><Relationship Id="rId15" Type="http://schemas.openxmlformats.org/officeDocument/2006/relationships/image" Target="../media/image12.png"/><Relationship Id="rId10" Type="http://schemas.openxmlformats.org/officeDocument/2006/relationships/image" Target="../media/image63.tiff"/><Relationship Id="rId4" Type="http://schemas.openxmlformats.org/officeDocument/2006/relationships/image" Target="../media/image57.tiff"/><Relationship Id="rId9" Type="http://schemas.openxmlformats.org/officeDocument/2006/relationships/image" Target="../media/image62.tiff"/><Relationship Id="rId14" Type="http://schemas.openxmlformats.org/officeDocument/2006/relationships/image" Target="../media/image6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mailto:bagian.lisensi@gmail.com" TargetMode="Externa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70.tiff"/><Relationship Id="rId4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7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jpe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11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11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11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jpeg"/><Relationship Id="rId5" Type="http://schemas.openxmlformats.org/officeDocument/2006/relationships/image" Target="../media/image16.png"/><Relationship Id="rId4" Type="http://schemas.openxmlformats.org/officeDocument/2006/relationships/image" Target="../media/image9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jpeg"/><Relationship Id="rId5" Type="http://schemas.openxmlformats.org/officeDocument/2006/relationships/image" Target="../media/image16.png"/><Relationship Id="rId4" Type="http://schemas.openxmlformats.org/officeDocument/2006/relationships/image" Target="../media/image9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jpeg"/><Relationship Id="rId5" Type="http://schemas.openxmlformats.org/officeDocument/2006/relationships/image" Target="../media/image16.png"/><Relationship Id="rId4" Type="http://schemas.openxmlformats.org/officeDocument/2006/relationships/image" Target="../media/image9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46.xml"/><Relationship Id="rId5" Type="http://schemas.openxmlformats.org/officeDocument/2006/relationships/image" Target="../media/image11.jpe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2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11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6.xml"/><Relationship Id="rId5" Type="http://schemas.openxmlformats.org/officeDocument/2006/relationships/image" Target="../media/image11.jpeg"/><Relationship Id="rId4" Type="http://schemas.openxmlformats.org/officeDocument/2006/relationships/image" Target="../media/image16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46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11.jpe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5.png"/><Relationship Id="rId7" Type="http://schemas.openxmlformats.org/officeDocument/2006/relationships/image" Target="../media/image79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8.png"/><Relationship Id="rId11" Type="http://schemas.openxmlformats.org/officeDocument/2006/relationships/image" Target="../media/image81.png"/><Relationship Id="rId5" Type="http://schemas.openxmlformats.org/officeDocument/2006/relationships/image" Target="../media/image77.png"/><Relationship Id="rId10" Type="http://schemas.openxmlformats.org/officeDocument/2006/relationships/image" Target="../media/image80.png"/><Relationship Id="rId4" Type="http://schemas.openxmlformats.org/officeDocument/2006/relationships/image" Target="../media/image76.png"/><Relationship Id="rId9" Type="http://schemas.openxmlformats.org/officeDocument/2006/relationships/hyperlink" Target="mailto:sekretariatlpjk@pu.go.id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1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1.jpeg"/><Relationship Id="rId5" Type="http://schemas.openxmlformats.org/officeDocument/2006/relationships/image" Target="../media/image16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A268518-247A-57AC-8628-7F256180AE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 descr="Text, logo&#10;&#10;Description automatically generated">
            <a:extLst>
              <a:ext uri="{FF2B5EF4-FFF2-40B4-BE49-F238E27FC236}">
                <a16:creationId xmlns:a16="http://schemas.microsoft.com/office/drawing/2014/main" id="{C02B5ED5-2806-00AB-EDB6-10E7FC509B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043" y="67678"/>
            <a:ext cx="1615921" cy="614684"/>
          </a:xfrm>
          <a:prstGeom prst="rect">
            <a:avLst/>
          </a:prstGeom>
        </p:spPr>
      </p:pic>
      <p:pic>
        <p:nvPicPr>
          <p:cNvPr id="37" name="Picture 30" descr="A black background with red and black text&#10;&#10;Description automatically generated">
            <a:extLst>
              <a:ext uri="{FF2B5EF4-FFF2-40B4-BE49-F238E27FC236}">
                <a16:creationId xmlns:a16="http://schemas.microsoft.com/office/drawing/2014/main" id="{5C0D992C-6CE5-ED2C-B68A-BB594A9132F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1968133" y="-164396"/>
            <a:ext cx="1106668" cy="1106668"/>
          </a:xfrm>
          <a:prstGeom prst="rect">
            <a:avLst/>
          </a:prstGeom>
        </p:spPr>
      </p:pic>
      <p:sp>
        <p:nvSpPr>
          <p:cNvPr id="39" name="object 7">
            <a:extLst>
              <a:ext uri="{FF2B5EF4-FFF2-40B4-BE49-F238E27FC236}">
                <a16:creationId xmlns:a16="http://schemas.microsoft.com/office/drawing/2014/main" id="{B0AD2D03-380A-AD87-5787-C60D352AD519}"/>
              </a:ext>
            </a:extLst>
          </p:cNvPr>
          <p:cNvSpPr txBox="1"/>
          <p:nvPr/>
        </p:nvSpPr>
        <p:spPr>
          <a:xfrm>
            <a:off x="2313073" y="3702225"/>
            <a:ext cx="7565845" cy="996427"/>
          </a:xfrm>
          <a:prstGeom prst="rect">
            <a:avLst/>
          </a:prstGeom>
        </p:spPr>
        <p:txBody>
          <a:bodyPr vert="horz" wrap="square" lIns="0" tIns="7239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"/>
                <a:ea typeface="Century Gothic" charset="0"/>
                <a:cs typeface="Segoe UI"/>
              </a:rPr>
              <a:t>Disampaikan oleh:</a:t>
            </a:r>
            <a:endParaRPr lang="en-US" sz="2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oboto"/>
              <a:ea typeface="Century Gothic" charset="0"/>
              <a:cs typeface="Segoe UI"/>
            </a:endParaRPr>
          </a:p>
          <a:p>
            <a:pPr algn="ctr">
              <a:defRPr/>
            </a:pPr>
            <a:r>
              <a:rPr lang="en-US" sz="2000" b="1" dirty="0" err="1">
                <a:latin typeface="Roboto"/>
                <a:ea typeface="Century Gothic" charset="0"/>
                <a:cs typeface="Segoe UI"/>
              </a:rPr>
              <a:t>Pengurus</a:t>
            </a:r>
            <a:r>
              <a:rPr lang="en-US" sz="2000" b="1" dirty="0">
                <a:latin typeface="Roboto"/>
                <a:ea typeface="Century Gothic" charset="0"/>
                <a:cs typeface="Segoe UI"/>
              </a:rPr>
              <a:t> </a:t>
            </a:r>
            <a:r>
              <a:rPr lang="en-US" sz="2000" b="1" dirty="0" err="1">
                <a:latin typeface="Roboto"/>
                <a:ea typeface="Century Gothic" charset="0"/>
                <a:cs typeface="Segoe UI"/>
              </a:rPr>
              <a:t>Bidang</a:t>
            </a:r>
            <a:r>
              <a:rPr lang="en-US" sz="2000" b="1" dirty="0">
                <a:latin typeface="Roboto"/>
                <a:ea typeface="Century Gothic" charset="0"/>
                <a:cs typeface="Segoe UI"/>
              </a:rPr>
              <a:t> II</a:t>
            </a:r>
          </a:p>
          <a:p>
            <a:pPr algn="ctr">
              <a:defRPr/>
            </a:pPr>
            <a:r>
              <a:rPr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"/>
                <a:ea typeface="Century Gothic" charset="0"/>
                <a:cs typeface="Segoe UI"/>
              </a:rPr>
              <a:t>Lembaga Pengembangan Jasa Konstruksi</a:t>
            </a:r>
          </a:p>
        </p:txBody>
      </p:sp>
      <p:sp>
        <p:nvSpPr>
          <p:cNvPr id="41" name="object 7">
            <a:extLst>
              <a:ext uri="{FF2B5EF4-FFF2-40B4-BE49-F238E27FC236}">
                <a16:creationId xmlns:a16="http://schemas.microsoft.com/office/drawing/2014/main" id="{FB6A6953-5634-3C8C-7D13-F42C2A755798}"/>
              </a:ext>
            </a:extLst>
          </p:cNvPr>
          <p:cNvSpPr txBox="1"/>
          <p:nvPr/>
        </p:nvSpPr>
        <p:spPr>
          <a:xfrm>
            <a:off x="1007801" y="1554698"/>
            <a:ext cx="10158259" cy="1812035"/>
          </a:xfrm>
          <a:prstGeom prst="rect">
            <a:avLst/>
          </a:prstGeom>
        </p:spPr>
        <p:txBody>
          <a:bodyPr vert="horz" wrap="square" lIns="0" tIns="72390" rIns="0" bIns="0" rtlCol="0" anchor="t">
            <a:spAutoFit/>
          </a:bodyPr>
          <a:lstStyle/>
          <a:p>
            <a:pPr marL="12700" marR="6350" algn="ctr">
              <a:spcBef>
                <a:spcPts val="570"/>
              </a:spcBef>
              <a:defRPr/>
            </a:pPr>
            <a:r>
              <a:rPr lang="en-US" sz="5400" b="1" dirty="0">
                <a:solidFill>
                  <a:srgbClr val="002060"/>
                </a:solidFill>
                <a:latin typeface="Tahoma"/>
                <a:ea typeface="Roboto"/>
                <a:cs typeface="Roboto"/>
              </a:rPr>
              <a:t>IMPLEMENTASI</a:t>
            </a:r>
          </a:p>
          <a:p>
            <a:pPr marL="12700" marR="6350" algn="ctr">
              <a:spcBef>
                <a:spcPts val="570"/>
              </a:spcBef>
              <a:defRPr/>
            </a:pPr>
            <a:r>
              <a:rPr lang="en-US" sz="5400" b="1" dirty="0">
                <a:solidFill>
                  <a:srgbClr val="002060"/>
                </a:solidFill>
                <a:latin typeface="Tahoma"/>
                <a:ea typeface="Roboto"/>
                <a:cs typeface="Roboto"/>
              </a:rPr>
              <a:t>PERIZINAN BERUSAHA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D5FF781-8622-8E9B-AA58-EB1254814FF3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7A443DC0-8D45-0013-B0DA-72F338C839C4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964D0191-6B0F-5B8E-70EB-0A0EEB33FC6C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37BC97B0-71FE-BF36-3F52-D777356A7108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FB957267-C0C1-64A8-D36A-02E14066C44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pic>
        <p:nvPicPr>
          <p:cNvPr id="56" name="Picture 55" descr="lgo sigap.png">
            <a:extLst>
              <a:ext uri="{FF2B5EF4-FFF2-40B4-BE49-F238E27FC236}">
                <a16:creationId xmlns:a16="http://schemas.microsoft.com/office/drawing/2014/main" id="{182E836C-5381-ACFE-8532-2FD5163B97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  <p:pic>
        <p:nvPicPr>
          <p:cNvPr id="2" name="Picture 1" descr="A yellow rectangular object with black edges&#10;&#10;Description automatically generated">
            <a:extLst>
              <a:ext uri="{FF2B5EF4-FFF2-40B4-BE49-F238E27FC236}">
                <a16:creationId xmlns:a16="http://schemas.microsoft.com/office/drawing/2014/main" id="{623A11CC-A487-0197-F34B-8A892A9DD1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V="1">
            <a:off x="1991587" y="3475459"/>
            <a:ext cx="8208819" cy="139995"/>
          </a:xfrm>
          <a:prstGeom prst="rect">
            <a:avLst/>
          </a:prstGeom>
        </p:spPr>
      </p:pic>
      <p:sp>
        <p:nvSpPr>
          <p:cNvPr id="3" name="object 7">
            <a:extLst>
              <a:ext uri="{FF2B5EF4-FFF2-40B4-BE49-F238E27FC236}">
                <a16:creationId xmlns:a16="http://schemas.microsoft.com/office/drawing/2014/main" id="{D23B1769-F54A-9C7B-EB3E-CA45D02D573A}"/>
              </a:ext>
            </a:extLst>
          </p:cNvPr>
          <p:cNvSpPr txBox="1"/>
          <p:nvPr/>
        </p:nvSpPr>
        <p:spPr>
          <a:xfrm>
            <a:off x="8866094" y="5803299"/>
            <a:ext cx="3325906" cy="380873"/>
          </a:xfrm>
          <a:prstGeom prst="rect">
            <a:avLst/>
          </a:prstGeom>
        </p:spPr>
        <p:txBody>
          <a:bodyPr vert="horz" wrap="square" lIns="0" tIns="72390" rIns="0" bIns="0" rtlCol="0" anchor="t">
            <a:spAutoFit/>
          </a:bodyPr>
          <a:lstStyle/>
          <a:p>
            <a:pPr algn="ctr">
              <a:defRPr/>
            </a:pPr>
            <a:r>
              <a:rPr lang="en-US" sz="2000" b="1" dirty="0" err="1">
                <a:latin typeface="Roboto"/>
                <a:ea typeface="Century Gothic" charset="0"/>
                <a:cs typeface="Segoe UI"/>
              </a:rPr>
              <a:t>Samarinda</a:t>
            </a:r>
            <a:r>
              <a:rPr lang="en-US" sz="2000" b="1" dirty="0">
                <a:latin typeface="Roboto"/>
                <a:ea typeface="Century Gothic" charset="0"/>
                <a:cs typeface="Segoe UI"/>
              </a:rPr>
              <a:t>, 31 Juli 2024</a:t>
            </a:r>
            <a:endParaRPr lang="en-US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Roboto"/>
              <a:ea typeface="Century Gothic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40387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2D0CAF-BAF8-40EF-ABA5-62E42D856B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42D0CAF-BAF8-40EF-ABA5-62E42D856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CCB1B846-8428-A747-9D92-9630C9E26828}"/>
              </a:ext>
            </a:extLst>
          </p:cNvPr>
          <p:cNvSpPr txBox="1"/>
          <p:nvPr/>
        </p:nvSpPr>
        <p:spPr>
          <a:xfrm>
            <a:off x="5621462" y="1341170"/>
            <a:ext cx="5765180" cy="2244418"/>
          </a:xfrm>
          <a:prstGeom prst="roundRect">
            <a:avLst>
              <a:gd name="adj" fmla="val 12122"/>
            </a:avLst>
          </a:prstGeom>
          <a:solidFill>
            <a:srgbClr val="FFB8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Segoe UI Light" panose="020B0502040204020203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ID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  <a:sym typeface="Segoe UI Light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8246D2E-1226-2047-A5DB-200907C5C695}"/>
              </a:ext>
            </a:extLst>
          </p:cNvPr>
          <p:cNvSpPr txBox="1"/>
          <p:nvPr/>
        </p:nvSpPr>
        <p:spPr>
          <a:xfrm>
            <a:off x="855257" y="1351794"/>
            <a:ext cx="3100418" cy="2233794"/>
          </a:xfrm>
          <a:prstGeom prst="roundRect">
            <a:avLst>
              <a:gd name="adj" fmla="val 12122"/>
            </a:avLst>
          </a:prstGeom>
          <a:solidFill>
            <a:srgbClr val="FFB8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Segoe UI Light" panose="020B0502040204020203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ID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  <a:sym typeface="Segoe UI Light" panose="020B0502040204020203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6B7A0B3-BD4F-D14B-8BF3-703C5DB835A2}"/>
              </a:ext>
            </a:extLst>
          </p:cNvPr>
          <p:cNvCxnSpPr>
            <a:cxnSpLocks/>
          </p:cNvCxnSpPr>
          <p:nvPr/>
        </p:nvCxnSpPr>
        <p:spPr>
          <a:xfrm>
            <a:off x="3966881" y="2515400"/>
            <a:ext cx="1646154" cy="0"/>
          </a:xfrm>
          <a:prstGeom prst="line">
            <a:avLst/>
          </a:prstGeom>
          <a:ln w="19050" cap="rnd">
            <a:solidFill>
              <a:srgbClr val="174A90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24">
            <a:extLst>
              <a:ext uri="{FF2B5EF4-FFF2-40B4-BE49-F238E27FC236}">
                <a16:creationId xmlns:a16="http://schemas.microsoft.com/office/drawing/2014/main" id="{0714265D-DB92-A84D-B84C-1408ACD17FA0}"/>
              </a:ext>
            </a:extLst>
          </p:cNvPr>
          <p:cNvSpPr/>
          <p:nvPr/>
        </p:nvSpPr>
        <p:spPr>
          <a:xfrm>
            <a:off x="6039169" y="1341912"/>
            <a:ext cx="1086803" cy="1073263"/>
          </a:xfrm>
          <a:prstGeom prst="ellipse">
            <a:avLst/>
          </a:prstGeom>
          <a:solidFill>
            <a:srgbClr val="1E32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F104FFB-F81C-B14C-A7FA-30CEE37A57B7}"/>
              </a:ext>
            </a:extLst>
          </p:cNvPr>
          <p:cNvSpPr txBox="1"/>
          <p:nvPr/>
        </p:nvSpPr>
        <p:spPr>
          <a:xfrm>
            <a:off x="6027963" y="1677770"/>
            <a:ext cx="1086803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njual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ahuna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B76C40D0-DD84-C645-869F-8C225137BF99}"/>
              </a:ext>
            </a:extLst>
          </p:cNvPr>
          <p:cNvGrpSpPr/>
          <p:nvPr/>
        </p:nvGrpSpPr>
        <p:grpSpPr>
          <a:xfrm>
            <a:off x="3829259" y="2466366"/>
            <a:ext cx="98068" cy="98068"/>
            <a:chOff x="8426807" y="4968511"/>
            <a:chExt cx="98068" cy="98068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03F7D4F0-491F-5E4E-90F2-948C919878D8}"/>
                </a:ext>
              </a:extLst>
            </p:cNvPr>
            <p:cNvSpPr txBox="1"/>
            <p:nvPr/>
          </p:nvSpPr>
          <p:spPr>
            <a:xfrm>
              <a:off x="8426807" y="4968511"/>
              <a:ext cx="98068" cy="98068"/>
            </a:xfrm>
            <a:prstGeom prst="ellipse">
              <a:avLst/>
            </a:prstGeom>
            <a:noFill/>
            <a:ln w="127000">
              <a:solidFill>
                <a:srgbClr val="174A90">
                  <a:alpha val="20000"/>
                </a:srgb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Segoe UI Light" panose="020B0502040204020203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1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ID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+mn-cs"/>
                <a:sym typeface="Segoe UI Light" panose="020B0502040204020203" pitchFamily="34" charset="0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6FB49642-8A74-2C4E-A427-E22ADB3AF885}"/>
                </a:ext>
              </a:extLst>
            </p:cNvPr>
            <p:cNvSpPr txBox="1"/>
            <p:nvPr/>
          </p:nvSpPr>
          <p:spPr>
            <a:xfrm>
              <a:off x="8426807" y="4968511"/>
              <a:ext cx="98067" cy="98068"/>
            </a:xfrm>
            <a:prstGeom prst="ellipse">
              <a:avLst/>
            </a:prstGeom>
            <a:solidFill>
              <a:srgbClr val="174A90"/>
            </a:solidFill>
            <a:ln>
              <a:noFill/>
            </a:ln>
            <a:effectLst>
              <a:outerShdw blurRad="190500" dist="38100" algn="l" rotWithShape="0">
                <a:srgbClr val="F4B642">
                  <a:alpha val="2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Segoe UI Light" panose="020B0502040204020203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1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ID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+mn-cs"/>
                <a:sym typeface="Segoe UI Light" panose="020B0502040204020203" pitchFamily="34" charset="0"/>
              </a:endParaRP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022FFEFD-15AE-4847-AC80-4B58BA2ECB37}"/>
              </a:ext>
            </a:extLst>
          </p:cNvPr>
          <p:cNvSpPr txBox="1"/>
          <p:nvPr/>
        </p:nvSpPr>
        <p:spPr>
          <a:xfrm>
            <a:off x="952168" y="1853375"/>
            <a:ext cx="2793003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Poppins" panose="00000500000000000000" pitchFamily="2" charset="0"/>
              </a:rPr>
              <a:t>PP No. 5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Poppins" panose="00000500000000000000" pitchFamily="2" charset="0"/>
              </a:rPr>
              <a:t>Tahu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Poppins" panose="00000500000000000000" pitchFamily="2" charset="0"/>
              </a:rPr>
              <a:t> 2021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Poppins" panose="00000500000000000000" pitchFamily="2" charset="0"/>
              </a:rPr>
              <a:t>Pasal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Poppins" panose="00000500000000000000" pitchFamily="2" charset="0"/>
              </a:rPr>
              <a:t> 85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Poppins" panose="00000500000000000000" pitchFamily="2" charset="0"/>
              </a:rPr>
              <a:t>PerMe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Poppins" panose="00000500000000000000" pitchFamily="2" charset="0"/>
              </a:rPr>
              <a:t> PUPR No 6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Poppins" panose="00000500000000000000" pitchFamily="2" charset="0"/>
              </a:rPr>
              <a:t>Tahu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Poppins" panose="00000500000000000000" pitchFamily="2" charset="0"/>
              </a:rPr>
              <a:t> 2021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Poppins" panose="00000500000000000000" pitchFamily="2" charset="0"/>
              </a:rPr>
              <a:t>SE Menteri PUPR No. 21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Poppins" panose="00000500000000000000" pitchFamily="2" charset="0"/>
              </a:rPr>
              <a:t>Tahu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Poppins" panose="00000500000000000000" pitchFamily="2" charset="0"/>
              </a:rPr>
              <a:t> 2021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Poppins" panose="00000500000000000000" pitchFamily="2" charset="0"/>
              </a:rPr>
              <a:t>Huruf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Poppins" panose="00000500000000000000" pitchFamily="2" charset="0"/>
              </a:rPr>
              <a:t> G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Poppins" panose="00000500000000000000" pitchFamily="2" charset="0"/>
              </a:rPr>
              <a:t>angka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Poppins" panose="00000500000000000000" pitchFamily="2" charset="0"/>
              </a:rPr>
              <a:t> 2d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FA37EC35-72D4-097E-5CAD-966EBB3A0385}"/>
              </a:ext>
            </a:extLst>
          </p:cNvPr>
          <p:cNvSpPr/>
          <p:nvPr/>
        </p:nvSpPr>
        <p:spPr>
          <a:xfrm>
            <a:off x="7899929" y="1351794"/>
            <a:ext cx="1086803" cy="1073263"/>
          </a:xfrm>
          <a:prstGeom prst="ellipse">
            <a:avLst/>
          </a:prstGeom>
          <a:solidFill>
            <a:srgbClr val="1E32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339DA00-F3F8-B849-8695-E90500A03D8E}"/>
              </a:ext>
            </a:extLst>
          </p:cNvPr>
          <p:cNvSpPr txBox="1"/>
          <p:nvPr/>
        </p:nvSpPr>
        <p:spPr>
          <a:xfrm>
            <a:off x="7842509" y="1697969"/>
            <a:ext cx="1295277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mampu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uanga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9A82BA5-ED41-68C3-B5E9-1280FEECA445}"/>
              </a:ext>
            </a:extLst>
          </p:cNvPr>
          <p:cNvSpPr/>
          <p:nvPr/>
        </p:nvSpPr>
        <p:spPr>
          <a:xfrm>
            <a:off x="9832682" y="1351794"/>
            <a:ext cx="1086803" cy="1073263"/>
          </a:xfrm>
          <a:prstGeom prst="ellipse">
            <a:avLst/>
          </a:prstGeom>
          <a:solidFill>
            <a:srgbClr val="1E32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1E2569D3-1440-D080-72EF-9199A9620D41}"/>
              </a:ext>
            </a:extLst>
          </p:cNvPr>
          <p:cNvSpPr/>
          <p:nvPr/>
        </p:nvSpPr>
        <p:spPr>
          <a:xfrm>
            <a:off x="6071998" y="2468691"/>
            <a:ext cx="1086803" cy="1073263"/>
          </a:xfrm>
          <a:prstGeom prst="ellipse">
            <a:avLst/>
          </a:prstGeom>
          <a:solidFill>
            <a:srgbClr val="1E32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9C2CB34B-ED8C-6A17-D7FB-8568C7EEFF56}"/>
              </a:ext>
            </a:extLst>
          </p:cNvPr>
          <p:cNvSpPr/>
          <p:nvPr/>
        </p:nvSpPr>
        <p:spPr>
          <a:xfrm>
            <a:off x="7914717" y="2503585"/>
            <a:ext cx="1086803" cy="1073263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B0A4F765-FD70-1A1B-4BA6-DBD0083E78D0}"/>
              </a:ext>
            </a:extLst>
          </p:cNvPr>
          <p:cNvSpPr/>
          <p:nvPr/>
        </p:nvSpPr>
        <p:spPr>
          <a:xfrm>
            <a:off x="9846932" y="2515836"/>
            <a:ext cx="1086803" cy="1073263"/>
          </a:xfrm>
          <a:prstGeom prst="ellipse">
            <a:avLst/>
          </a:prstGeom>
          <a:solidFill>
            <a:srgbClr val="1E32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FF497F6-FC68-9A49-9A69-ACBEFF14C00D}"/>
              </a:ext>
            </a:extLst>
          </p:cNvPr>
          <p:cNvSpPr txBox="1"/>
          <p:nvPr/>
        </p:nvSpPr>
        <p:spPr>
          <a:xfrm>
            <a:off x="9876910" y="1739793"/>
            <a:ext cx="1076003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tersedia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KK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85F4B98-C69C-3044-B57C-56BF495D98E7}"/>
              </a:ext>
            </a:extLst>
          </p:cNvPr>
          <p:cNvSpPr txBox="1"/>
          <p:nvPr/>
        </p:nvSpPr>
        <p:spPr>
          <a:xfrm>
            <a:off x="6085549" y="2679613"/>
            <a:ext cx="1086803" cy="6463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nyedia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ralat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onstruks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588A090-B404-B145-9B38-3E8D3FB004B2}"/>
              </a:ext>
            </a:extLst>
          </p:cNvPr>
          <p:cNvSpPr txBox="1"/>
          <p:nvPr/>
        </p:nvSpPr>
        <p:spPr>
          <a:xfrm>
            <a:off x="7899929" y="2841945"/>
            <a:ext cx="1086803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nerap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MM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4A3BFA1-7912-9B45-8D4D-DA3A507038CC}"/>
              </a:ext>
            </a:extLst>
          </p:cNvPr>
          <p:cNvSpPr txBox="1"/>
          <p:nvPr/>
        </p:nvSpPr>
        <p:spPr>
          <a:xfrm>
            <a:off x="9794360" y="2864207"/>
            <a:ext cx="1225927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nerap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MAP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B1AAB8B-40C7-7C09-8B25-7CF49043B3BB}"/>
              </a:ext>
            </a:extLst>
          </p:cNvPr>
          <p:cNvSpPr txBox="1"/>
          <p:nvPr/>
        </p:nvSpPr>
        <p:spPr>
          <a:xfrm>
            <a:off x="5621462" y="3663872"/>
            <a:ext cx="5765180" cy="2240637"/>
          </a:xfrm>
          <a:prstGeom prst="roundRect">
            <a:avLst>
              <a:gd name="adj" fmla="val 12122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Segoe UI Light" panose="020B0502040204020203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ID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  <a:sym typeface="Segoe UI Light" panose="020B0502040204020203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ED509F0-3DEE-FE40-7ABE-F25FD286FEE3}"/>
              </a:ext>
            </a:extLst>
          </p:cNvPr>
          <p:cNvSpPr txBox="1"/>
          <p:nvPr/>
        </p:nvSpPr>
        <p:spPr>
          <a:xfrm>
            <a:off x="803466" y="3705173"/>
            <a:ext cx="3100418" cy="2253630"/>
          </a:xfrm>
          <a:prstGeom prst="roundRect">
            <a:avLst>
              <a:gd name="adj" fmla="val 12122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Segoe UI Light" panose="020B0502040204020203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ID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  <a:sym typeface="Segoe UI Light" panose="020B0502040204020203" pitchFamily="34" charset="0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0386EE88-C17D-6E76-35BD-A262CAA6A7D5}"/>
              </a:ext>
            </a:extLst>
          </p:cNvPr>
          <p:cNvCxnSpPr>
            <a:cxnSpLocks/>
          </p:cNvCxnSpPr>
          <p:nvPr/>
        </p:nvCxnSpPr>
        <p:spPr>
          <a:xfrm>
            <a:off x="3966881" y="4834321"/>
            <a:ext cx="1646154" cy="0"/>
          </a:xfrm>
          <a:prstGeom prst="line">
            <a:avLst/>
          </a:prstGeom>
          <a:ln w="19050" cap="rnd">
            <a:solidFill>
              <a:srgbClr val="174A90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Group 60">
            <a:extLst>
              <a:ext uri="{FF2B5EF4-FFF2-40B4-BE49-F238E27FC236}">
                <a16:creationId xmlns:a16="http://schemas.microsoft.com/office/drawing/2014/main" id="{0E2B2326-08A1-C3C8-B9A3-C7CBF0CE3A49}"/>
              </a:ext>
            </a:extLst>
          </p:cNvPr>
          <p:cNvGrpSpPr/>
          <p:nvPr/>
        </p:nvGrpSpPr>
        <p:grpSpPr>
          <a:xfrm>
            <a:off x="3829259" y="4785287"/>
            <a:ext cx="98068" cy="98068"/>
            <a:chOff x="8426807" y="4968511"/>
            <a:chExt cx="98068" cy="98068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C7870AE4-AA74-EA82-41FA-46FD3362B4A9}"/>
                </a:ext>
              </a:extLst>
            </p:cNvPr>
            <p:cNvSpPr txBox="1"/>
            <p:nvPr/>
          </p:nvSpPr>
          <p:spPr>
            <a:xfrm>
              <a:off x="8426807" y="4968511"/>
              <a:ext cx="98068" cy="98068"/>
            </a:xfrm>
            <a:prstGeom prst="ellipse">
              <a:avLst/>
            </a:prstGeom>
            <a:noFill/>
            <a:ln w="127000">
              <a:solidFill>
                <a:srgbClr val="174A90">
                  <a:alpha val="20000"/>
                </a:srgb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Segoe UI Light" panose="020B0502040204020203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1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ID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+mn-cs"/>
                <a:sym typeface="Segoe UI Light" panose="020B0502040204020203" pitchFamily="34" charset="0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857A9E82-F496-3A39-DA20-5259FFF6E258}"/>
                </a:ext>
              </a:extLst>
            </p:cNvPr>
            <p:cNvSpPr txBox="1"/>
            <p:nvPr/>
          </p:nvSpPr>
          <p:spPr>
            <a:xfrm>
              <a:off x="8426807" y="4968511"/>
              <a:ext cx="98067" cy="98068"/>
            </a:xfrm>
            <a:prstGeom prst="ellipse">
              <a:avLst/>
            </a:prstGeom>
            <a:solidFill>
              <a:srgbClr val="174A90"/>
            </a:solidFill>
            <a:ln>
              <a:noFill/>
            </a:ln>
            <a:effectLst>
              <a:outerShdw blurRad="190500" dist="38100" algn="l" rotWithShape="0">
                <a:srgbClr val="F4B642">
                  <a:alpha val="2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Segoe UI Light" panose="020B0502040204020203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1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ID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+mn-cs"/>
                <a:sym typeface="Segoe UI Light" panose="020B0502040204020203" pitchFamily="34" charset="0"/>
              </a:endParaRPr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631B7C9F-0A45-9211-4148-25CB0D1A3FC7}"/>
              </a:ext>
            </a:extLst>
          </p:cNvPr>
          <p:cNvSpPr txBox="1"/>
          <p:nvPr/>
        </p:nvSpPr>
        <p:spPr>
          <a:xfrm>
            <a:off x="1173117" y="4667614"/>
            <a:ext cx="249677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Poppins" panose="00000500000000000000" pitchFamily="2" charset="0"/>
              </a:rPr>
              <a:t>Perme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Poppins" panose="00000500000000000000" pitchFamily="2" charset="0"/>
              </a:rPr>
              <a:t> PUPR No. 8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Poppins" panose="00000500000000000000" pitchFamily="2" charset="0"/>
              </a:rPr>
              <a:t>Tahu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Poppins" panose="00000500000000000000" pitchFamily="2" charset="0"/>
              </a:rPr>
              <a:t> 202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Poppins" panose="00000500000000000000" pitchFamily="2" charset="0"/>
              </a:rPr>
              <a:t>Pasal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Poppins" panose="00000500000000000000" pitchFamily="2" charset="0"/>
              </a:rPr>
              <a:t> 4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Poppins" panose="00000500000000000000" pitchFamily="2" charset="0"/>
              </a:rPr>
              <a:t>ayat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Poppins" panose="00000500000000000000" pitchFamily="2" charset="0"/>
              </a:rPr>
              <a:t> 3c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FB1CF491-4D06-990A-B015-D877B3D750A6}"/>
              </a:ext>
            </a:extLst>
          </p:cNvPr>
          <p:cNvSpPr txBox="1"/>
          <p:nvPr/>
        </p:nvSpPr>
        <p:spPr>
          <a:xfrm>
            <a:off x="1176321" y="4237091"/>
            <a:ext cx="2010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laksas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sua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: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8" name="Arrow: Striped Right 77">
            <a:extLst>
              <a:ext uri="{FF2B5EF4-FFF2-40B4-BE49-F238E27FC236}">
                <a16:creationId xmlns:a16="http://schemas.microsoft.com/office/drawing/2014/main" id="{20CFB481-E4BE-D173-AE6E-9F182347E869}"/>
              </a:ext>
            </a:extLst>
          </p:cNvPr>
          <p:cNvSpPr/>
          <p:nvPr/>
        </p:nvSpPr>
        <p:spPr>
          <a:xfrm rot="5400000">
            <a:off x="7197105" y="3429606"/>
            <a:ext cx="698420" cy="659208"/>
          </a:xfrm>
          <a:prstGeom prst="striped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9" name="Arrow: Striped Right 78">
            <a:extLst>
              <a:ext uri="{FF2B5EF4-FFF2-40B4-BE49-F238E27FC236}">
                <a16:creationId xmlns:a16="http://schemas.microsoft.com/office/drawing/2014/main" id="{C2E4835F-0B79-0B57-4FA4-1417EDE35091}"/>
              </a:ext>
            </a:extLst>
          </p:cNvPr>
          <p:cNvSpPr/>
          <p:nvPr/>
        </p:nvSpPr>
        <p:spPr>
          <a:xfrm rot="5400000">
            <a:off x="9230323" y="3429606"/>
            <a:ext cx="698420" cy="659208"/>
          </a:xfrm>
          <a:prstGeom prst="striped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C16F0B95-E15F-CF18-41EF-1CDE8A0082F2}"/>
              </a:ext>
            </a:extLst>
          </p:cNvPr>
          <p:cNvSpPr/>
          <p:nvPr/>
        </p:nvSpPr>
        <p:spPr>
          <a:xfrm>
            <a:off x="6090641" y="3670315"/>
            <a:ext cx="1086803" cy="1073263"/>
          </a:xfrm>
          <a:prstGeom prst="ellipse">
            <a:avLst/>
          </a:prstGeom>
          <a:solidFill>
            <a:srgbClr val="1E32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A6FFCD7F-0A07-52F7-2813-08F7007DE4D0}"/>
              </a:ext>
            </a:extLst>
          </p:cNvPr>
          <p:cNvSpPr txBox="1"/>
          <p:nvPr/>
        </p:nvSpPr>
        <p:spPr>
          <a:xfrm>
            <a:off x="6079435" y="4006173"/>
            <a:ext cx="1086803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njual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ahuna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D4FE8BA2-38C7-43B6-C913-E3C5EE870C0C}"/>
              </a:ext>
            </a:extLst>
          </p:cNvPr>
          <p:cNvSpPr/>
          <p:nvPr/>
        </p:nvSpPr>
        <p:spPr>
          <a:xfrm>
            <a:off x="7951401" y="3680197"/>
            <a:ext cx="1086803" cy="1073263"/>
          </a:xfrm>
          <a:prstGeom prst="ellipse">
            <a:avLst/>
          </a:prstGeom>
          <a:solidFill>
            <a:srgbClr val="1E32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9155C483-7EF3-AF55-8C8D-DEBC81A61049}"/>
              </a:ext>
            </a:extLst>
          </p:cNvPr>
          <p:cNvSpPr txBox="1"/>
          <p:nvPr/>
        </p:nvSpPr>
        <p:spPr>
          <a:xfrm>
            <a:off x="7893981" y="4026372"/>
            <a:ext cx="1295277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mampu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uanga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A20E30ED-7A0E-C539-05E0-584E91700BAA}"/>
              </a:ext>
            </a:extLst>
          </p:cNvPr>
          <p:cNvSpPr/>
          <p:nvPr/>
        </p:nvSpPr>
        <p:spPr>
          <a:xfrm>
            <a:off x="9884154" y="3680197"/>
            <a:ext cx="1086803" cy="1073263"/>
          </a:xfrm>
          <a:prstGeom prst="ellipse">
            <a:avLst/>
          </a:prstGeom>
          <a:solidFill>
            <a:srgbClr val="1E32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2" name="Oval 121">
            <a:extLst>
              <a:ext uri="{FF2B5EF4-FFF2-40B4-BE49-F238E27FC236}">
                <a16:creationId xmlns:a16="http://schemas.microsoft.com/office/drawing/2014/main" id="{1315D43E-115C-A627-42A5-E9060D7D8870}"/>
              </a:ext>
            </a:extLst>
          </p:cNvPr>
          <p:cNvSpPr/>
          <p:nvPr/>
        </p:nvSpPr>
        <p:spPr>
          <a:xfrm>
            <a:off x="6123470" y="4797094"/>
            <a:ext cx="1086803" cy="1073263"/>
          </a:xfrm>
          <a:prstGeom prst="ellipse">
            <a:avLst/>
          </a:prstGeom>
          <a:solidFill>
            <a:srgbClr val="1E32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3" name="Oval 122">
            <a:extLst>
              <a:ext uri="{FF2B5EF4-FFF2-40B4-BE49-F238E27FC236}">
                <a16:creationId xmlns:a16="http://schemas.microsoft.com/office/drawing/2014/main" id="{3DDE5F92-AC79-6E29-6EB5-87DF4D6243DF}"/>
              </a:ext>
            </a:extLst>
          </p:cNvPr>
          <p:cNvSpPr/>
          <p:nvPr/>
        </p:nvSpPr>
        <p:spPr>
          <a:xfrm>
            <a:off x="7966189" y="4831988"/>
            <a:ext cx="1086803" cy="1073263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91D6FE53-D7AF-704E-92D7-A73B1FC5D8B0}"/>
              </a:ext>
            </a:extLst>
          </p:cNvPr>
          <p:cNvSpPr/>
          <p:nvPr/>
        </p:nvSpPr>
        <p:spPr>
          <a:xfrm>
            <a:off x="9876910" y="4831617"/>
            <a:ext cx="1086803" cy="1073263"/>
          </a:xfrm>
          <a:prstGeom prst="ellipse">
            <a:avLst/>
          </a:prstGeom>
          <a:solidFill>
            <a:srgbClr val="1E32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5C53834C-3B34-8880-FEC1-EDFB803FC8F0}"/>
              </a:ext>
            </a:extLst>
          </p:cNvPr>
          <p:cNvSpPr txBox="1"/>
          <p:nvPr/>
        </p:nvSpPr>
        <p:spPr>
          <a:xfrm>
            <a:off x="9928382" y="4068196"/>
            <a:ext cx="1076003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tersedia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KK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0CF3ECB8-E96D-53A0-8C99-F490C4DE5043}"/>
              </a:ext>
            </a:extLst>
          </p:cNvPr>
          <p:cNvSpPr txBox="1"/>
          <p:nvPr/>
        </p:nvSpPr>
        <p:spPr>
          <a:xfrm>
            <a:off x="6137021" y="5008016"/>
            <a:ext cx="1086803" cy="6463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nyedia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ralat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onstruks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CFAF3374-4D8F-C335-62DF-D4C6BA169B86}"/>
              </a:ext>
            </a:extLst>
          </p:cNvPr>
          <p:cNvSpPr txBox="1"/>
          <p:nvPr/>
        </p:nvSpPr>
        <p:spPr>
          <a:xfrm>
            <a:off x="7951401" y="5083113"/>
            <a:ext cx="1086803" cy="6463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T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osias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rdafta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i LPJK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B3EC1551-9A43-5F03-E405-9564F93B5B93}"/>
              </a:ext>
            </a:extLst>
          </p:cNvPr>
          <p:cNvSpPr txBox="1"/>
          <p:nvPr/>
        </p:nvSpPr>
        <p:spPr>
          <a:xfrm>
            <a:off x="9824338" y="5179988"/>
            <a:ext cx="1225927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nerap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MAP</a:t>
            </a:r>
          </a:p>
        </p:txBody>
      </p:sp>
      <p:sp>
        <p:nvSpPr>
          <p:cNvPr id="151" name="Arrow: Striped Right 150">
            <a:extLst>
              <a:ext uri="{FF2B5EF4-FFF2-40B4-BE49-F238E27FC236}">
                <a16:creationId xmlns:a16="http://schemas.microsoft.com/office/drawing/2014/main" id="{795BB61B-1AC0-B258-977F-837B96A871A1}"/>
              </a:ext>
            </a:extLst>
          </p:cNvPr>
          <p:cNvSpPr/>
          <p:nvPr/>
        </p:nvSpPr>
        <p:spPr>
          <a:xfrm rot="5400000">
            <a:off x="1995921" y="3464663"/>
            <a:ext cx="698420" cy="659208"/>
          </a:xfrm>
          <a:prstGeom prst="striped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Picture 1" descr="lgo sigap.png">
            <a:extLst>
              <a:ext uri="{FF2B5EF4-FFF2-40B4-BE49-F238E27FC236}">
                <a16:creationId xmlns:a16="http://schemas.microsoft.com/office/drawing/2014/main" id="{0A568A77-8DF0-F858-7384-126AC5EF98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14122" y="-2343"/>
            <a:ext cx="2877879" cy="1109585"/>
          </a:xfrm>
          <a:prstGeom prst="rect">
            <a:avLst/>
          </a:prstGeom>
        </p:spPr>
      </p:pic>
      <p:sp>
        <p:nvSpPr>
          <p:cNvPr id="5" name="Round Same Side Corner Rectangle 1">
            <a:extLst>
              <a:ext uri="{FF2B5EF4-FFF2-40B4-BE49-F238E27FC236}">
                <a16:creationId xmlns:a16="http://schemas.microsoft.com/office/drawing/2014/main" id="{DDDD253E-98F7-9B85-10C2-0D76DBBCE485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281A633-C8CC-472F-DD34-2C7AABBE7E0C}"/>
              </a:ext>
            </a:extLst>
          </p:cNvPr>
          <p:cNvSpPr txBox="1">
            <a:spLocks/>
          </p:cNvSpPr>
          <p:nvPr/>
        </p:nvSpPr>
        <p:spPr>
          <a:xfrm>
            <a:off x="234673" y="40884"/>
            <a:ext cx="9632143" cy="512949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KRITERIA PEMENUHAN DOKUMEN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2400" b="1" dirty="0">
                <a:solidFill>
                  <a:prstClr val="black"/>
                </a:solidFill>
                <a:latin typeface="Segoe UI"/>
              </a:rPr>
              <a:t>PERSYARATAN PERMOHONAN SERTIFIKASI</a:t>
            </a: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 BADAN USAHA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j-ea"/>
              <a:cs typeface="+mj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D70CD88-0D58-1790-D2F7-98D0D3C28B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C4228F9-F1F4-1FEB-A576-26C5DD18BFC9}"/>
              </a:ext>
            </a:extLst>
          </p:cNvPr>
          <p:cNvSpPr txBox="1"/>
          <p:nvPr/>
        </p:nvSpPr>
        <p:spPr>
          <a:xfrm>
            <a:off x="1191671" y="1493104"/>
            <a:ext cx="2010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tentu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sua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: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50528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219713D1-BDA3-F9BB-5EEA-6D06BE82D2AA}"/>
              </a:ext>
            </a:extLst>
          </p:cNvPr>
          <p:cNvSpPr/>
          <p:nvPr/>
        </p:nvSpPr>
        <p:spPr>
          <a:xfrm>
            <a:off x="291097" y="977795"/>
            <a:ext cx="4497948" cy="3965713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0" name="Rectangle: Diagonal Corners Snipped 189">
            <a:extLst>
              <a:ext uri="{FF2B5EF4-FFF2-40B4-BE49-F238E27FC236}">
                <a16:creationId xmlns:a16="http://schemas.microsoft.com/office/drawing/2014/main" id="{92DD67B1-6664-4D9E-7489-9ECECFB28B90}"/>
              </a:ext>
            </a:extLst>
          </p:cNvPr>
          <p:cNvSpPr/>
          <p:nvPr/>
        </p:nvSpPr>
        <p:spPr>
          <a:xfrm>
            <a:off x="306217" y="598691"/>
            <a:ext cx="949101" cy="681282"/>
          </a:xfrm>
          <a:prstGeom prst="snip2Diag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5" name="Rectangle: Rounded Corners 184">
            <a:extLst>
              <a:ext uri="{FF2B5EF4-FFF2-40B4-BE49-F238E27FC236}">
                <a16:creationId xmlns:a16="http://schemas.microsoft.com/office/drawing/2014/main" id="{27150D90-9DE1-FC40-4908-84F560B862E0}"/>
              </a:ext>
            </a:extLst>
          </p:cNvPr>
          <p:cNvSpPr/>
          <p:nvPr/>
        </p:nvSpPr>
        <p:spPr>
          <a:xfrm>
            <a:off x="7145954" y="5127057"/>
            <a:ext cx="2327031" cy="684693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3" name="Rectangle: Rounded Corners 182">
            <a:extLst>
              <a:ext uri="{FF2B5EF4-FFF2-40B4-BE49-F238E27FC236}">
                <a16:creationId xmlns:a16="http://schemas.microsoft.com/office/drawing/2014/main" id="{F44BC6AF-8B99-76D4-8C2D-8397DE697177}"/>
              </a:ext>
            </a:extLst>
          </p:cNvPr>
          <p:cNvSpPr/>
          <p:nvPr/>
        </p:nvSpPr>
        <p:spPr>
          <a:xfrm>
            <a:off x="2445472" y="4679577"/>
            <a:ext cx="2327031" cy="1307787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Rectangle: Rounded Corners 181">
            <a:extLst>
              <a:ext uri="{FF2B5EF4-FFF2-40B4-BE49-F238E27FC236}">
                <a16:creationId xmlns:a16="http://schemas.microsoft.com/office/drawing/2014/main" id="{8B2E9BA7-75DA-BC15-F607-25D525CFA258}"/>
              </a:ext>
            </a:extLst>
          </p:cNvPr>
          <p:cNvSpPr/>
          <p:nvPr/>
        </p:nvSpPr>
        <p:spPr>
          <a:xfrm>
            <a:off x="9493104" y="4498212"/>
            <a:ext cx="1516103" cy="220671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20660373-0DCF-014E-94A1-17A22D85E7E1}"/>
              </a:ext>
            </a:extLst>
          </p:cNvPr>
          <p:cNvSpPr/>
          <p:nvPr/>
        </p:nvSpPr>
        <p:spPr>
          <a:xfrm>
            <a:off x="6839244" y="967978"/>
            <a:ext cx="4731026" cy="3965712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0" name="Rectangle: Rounded Corners 179">
            <a:extLst>
              <a:ext uri="{FF2B5EF4-FFF2-40B4-BE49-F238E27FC236}">
                <a16:creationId xmlns:a16="http://schemas.microsoft.com/office/drawing/2014/main" id="{A90802D2-5C10-7E30-E49E-ACBDB2B376E4}"/>
              </a:ext>
            </a:extLst>
          </p:cNvPr>
          <p:cNvSpPr/>
          <p:nvPr/>
        </p:nvSpPr>
        <p:spPr>
          <a:xfrm>
            <a:off x="7008690" y="4247280"/>
            <a:ext cx="1602538" cy="558762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F82C3E48-ED73-AC91-AD23-A005A4315B04}"/>
              </a:ext>
            </a:extLst>
          </p:cNvPr>
          <p:cNvSpPr/>
          <p:nvPr/>
        </p:nvSpPr>
        <p:spPr>
          <a:xfrm>
            <a:off x="7969642" y="729068"/>
            <a:ext cx="2517376" cy="675853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3BD1EB19-DD23-282E-4522-25789D8F8059}"/>
              </a:ext>
            </a:extLst>
          </p:cNvPr>
          <p:cNvSpPr/>
          <p:nvPr/>
        </p:nvSpPr>
        <p:spPr>
          <a:xfrm>
            <a:off x="134746" y="5117695"/>
            <a:ext cx="2181030" cy="704421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2FED5472-C0C5-EB34-B285-003775ED5972}"/>
              </a:ext>
            </a:extLst>
          </p:cNvPr>
          <p:cNvSpPr/>
          <p:nvPr/>
        </p:nvSpPr>
        <p:spPr>
          <a:xfrm>
            <a:off x="2733839" y="3002801"/>
            <a:ext cx="1893004" cy="343957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C66C9EB5-1402-BAEF-8B9F-8195DD18D4A7}"/>
              </a:ext>
            </a:extLst>
          </p:cNvPr>
          <p:cNvSpPr/>
          <p:nvPr/>
        </p:nvSpPr>
        <p:spPr>
          <a:xfrm>
            <a:off x="694142" y="3696935"/>
            <a:ext cx="864704" cy="587108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EAF8CCF0-44FE-CC76-6DCB-36BDEA688087}"/>
              </a:ext>
            </a:extLst>
          </p:cNvPr>
          <p:cNvSpPr/>
          <p:nvPr/>
        </p:nvSpPr>
        <p:spPr>
          <a:xfrm>
            <a:off x="3152973" y="3696935"/>
            <a:ext cx="864704" cy="587108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4C4DCC29-0DAD-1A28-4D64-297DD42DF0DC}"/>
              </a:ext>
            </a:extLst>
          </p:cNvPr>
          <p:cNvSpPr/>
          <p:nvPr/>
        </p:nvSpPr>
        <p:spPr>
          <a:xfrm>
            <a:off x="2445472" y="1510560"/>
            <a:ext cx="2266122" cy="587108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C3DF55B1-D0F0-8F93-1BFE-166CB2A08FA5}"/>
              </a:ext>
            </a:extLst>
          </p:cNvPr>
          <p:cNvSpPr/>
          <p:nvPr/>
        </p:nvSpPr>
        <p:spPr>
          <a:xfrm>
            <a:off x="3071637" y="2472904"/>
            <a:ext cx="1217408" cy="505378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4B4EC186-1D4C-ABEB-6A69-F94DD9CE8C0A}"/>
              </a:ext>
            </a:extLst>
          </p:cNvPr>
          <p:cNvSpPr/>
          <p:nvPr/>
        </p:nvSpPr>
        <p:spPr>
          <a:xfrm>
            <a:off x="636551" y="2453434"/>
            <a:ext cx="864704" cy="475398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87D44C4D-CC70-80BC-4BC4-AE5B6A0E9D6C}"/>
              </a:ext>
            </a:extLst>
          </p:cNvPr>
          <p:cNvSpPr/>
          <p:nvPr/>
        </p:nvSpPr>
        <p:spPr>
          <a:xfrm>
            <a:off x="636551" y="1485087"/>
            <a:ext cx="864704" cy="587108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2D0CAF-BAF8-40EF-ABA5-62E42D856B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42D0CAF-BAF8-40EF-ABA5-62E42D856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Picture 39" descr="lgo sigap.png">
            <a:extLst>
              <a:ext uri="{FF2B5EF4-FFF2-40B4-BE49-F238E27FC236}">
                <a16:creationId xmlns:a16="http://schemas.microsoft.com/office/drawing/2014/main" id="{DFD253FB-B96C-4CE5-A44E-B3821B3AC6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14122" y="-2343"/>
            <a:ext cx="2877879" cy="1109585"/>
          </a:xfrm>
          <a:prstGeom prst="rect">
            <a:avLst/>
          </a:prstGeom>
        </p:spPr>
      </p:pic>
      <p:sp>
        <p:nvSpPr>
          <p:cNvPr id="46" name="Round Same Side Corner Rectangle 1">
            <a:extLst>
              <a:ext uri="{FF2B5EF4-FFF2-40B4-BE49-F238E27FC236}">
                <a16:creationId xmlns:a16="http://schemas.microsoft.com/office/drawing/2014/main" id="{0979AA23-7CA8-41D6-B1C4-475B124DC08C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63293E41-EC9A-42AD-ADE7-EEE8982414A6}"/>
              </a:ext>
            </a:extLst>
          </p:cNvPr>
          <p:cNvSpPr txBox="1">
            <a:spLocks/>
          </p:cNvSpPr>
          <p:nvPr/>
        </p:nvSpPr>
        <p:spPr>
          <a:xfrm>
            <a:off x="234673" y="40884"/>
            <a:ext cx="9632143" cy="512949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PERUBAHAN PROSES BISNIS PENGAJUAN </a:t>
            </a: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j-ea"/>
                <a:cs typeface="+mj-cs"/>
              </a:rPr>
              <a:t>PERMOHONAN SBU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F7B14A9-CA5D-F4D1-0BC8-B30540A8D8E3}"/>
              </a:ext>
            </a:extLst>
          </p:cNvPr>
          <p:cNvSpPr txBox="1"/>
          <p:nvPr/>
        </p:nvSpPr>
        <p:spPr>
          <a:xfrm>
            <a:off x="2351604" y="1516684"/>
            <a:ext cx="24538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OSIASI BUJK PEMEGANG HAK VVA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6C8241E-5E6D-E9B3-9497-B355AA9044D6}"/>
              </a:ext>
            </a:extLst>
          </p:cNvPr>
          <p:cNvSpPr txBox="1"/>
          <p:nvPr/>
        </p:nvSpPr>
        <p:spPr>
          <a:xfrm>
            <a:off x="757979" y="1593975"/>
            <a:ext cx="8647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JK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B4B91B7-7CA3-E7EF-3E66-DEBBC6E3C100}"/>
              </a:ext>
            </a:extLst>
          </p:cNvPr>
          <p:cNvSpPr txBox="1"/>
          <p:nvPr/>
        </p:nvSpPr>
        <p:spPr>
          <a:xfrm>
            <a:off x="767129" y="2520325"/>
            <a:ext cx="6035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PJK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4103242-66B1-AE1C-6C1D-460454892405}"/>
              </a:ext>
            </a:extLst>
          </p:cNvPr>
          <p:cNvSpPr txBox="1"/>
          <p:nvPr/>
        </p:nvSpPr>
        <p:spPr>
          <a:xfrm>
            <a:off x="3319319" y="2559500"/>
            <a:ext cx="814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BU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B61C65A-81BE-7492-3B04-9E39BD815862}"/>
              </a:ext>
            </a:extLst>
          </p:cNvPr>
          <p:cNvSpPr txBox="1"/>
          <p:nvPr/>
        </p:nvSpPr>
        <p:spPr>
          <a:xfrm>
            <a:off x="8108438" y="742741"/>
            <a:ext cx="22397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P No. 5 </a:t>
            </a:r>
            <a:r>
              <a:rPr kumimoji="0" lang="es-E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hun</a:t>
            </a: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021 </a:t>
            </a:r>
            <a:r>
              <a:rPr kumimoji="0" lang="es-E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sal</a:t>
            </a: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102 &amp; 103 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6470C9E-E1C0-98C8-6E81-D842F9E57C32}"/>
              </a:ext>
            </a:extLst>
          </p:cNvPr>
          <p:cNvSpPr txBox="1"/>
          <p:nvPr/>
        </p:nvSpPr>
        <p:spPr>
          <a:xfrm>
            <a:off x="3242083" y="3808553"/>
            <a:ext cx="7535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JK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3E7AE6E7-8C4F-24DE-490E-C9005FDA0E06}"/>
              </a:ext>
            </a:extLst>
          </p:cNvPr>
          <p:cNvSpPr/>
          <p:nvPr/>
        </p:nvSpPr>
        <p:spPr>
          <a:xfrm>
            <a:off x="1378994" y="738887"/>
            <a:ext cx="2517377" cy="681282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4FAFEA7-3278-3E0C-A2B5-2503CA65F003}"/>
              </a:ext>
            </a:extLst>
          </p:cNvPr>
          <p:cNvSpPr txBox="1"/>
          <p:nvPr/>
        </p:nvSpPr>
        <p:spPr>
          <a:xfrm>
            <a:off x="1396197" y="768408"/>
            <a:ext cx="25173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mpiran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Me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UPR No.51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hu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015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8D7EF34-8567-72E0-8A32-FAA08DC731E2}"/>
              </a:ext>
            </a:extLst>
          </p:cNvPr>
          <p:cNvSpPr txBox="1"/>
          <p:nvPr/>
        </p:nvSpPr>
        <p:spPr>
          <a:xfrm>
            <a:off x="836750" y="3830935"/>
            <a:ext cx="6035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PJK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4171CF0E-35B9-B180-86D0-2E2824275315}"/>
              </a:ext>
            </a:extLst>
          </p:cNvPr>
          <p:cNvCxnSpPr/>
          <p:nvPr/>
        </p:nvCxnSpPr>
        <p:spPr>
          <a:xfrm>
            <a:off x="1501255" y="1778641"/>
            <a:ext cx="944217" cy="0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A8050230-0074-D3E7-E96F-246C1476A6BF}"/>
              </a:ext>
            </a:extLst>
          </p:cNvPr>
          <p:cNvCxnSpPr>
            <a:cxnSpLocks/>
          </p:cNvCxnSpPr>
          <p:nvPr/>
        </p:nvCxnSpPr>
        <p:spPr>
          <a:xfrm rot="5400000">
            <a:off x="2217354" y="1042515"/>
            <a:ext cx="333549" cy="2450196"/>
          </a:xfrm>
          <a:prstGeom prst="bentConnector3">
            <a:avLst/>
          </a:prstGeom>
          <a:ln w="28575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1ADFCCDC-7C85-3D67-E81C-8A0CDA65E8C5}"/>
              </a:ext>
            </a:extLst>
          </p:cNvPr>
          <p:cNvCxnSpPr>
            <a:cxnSpLocks/>
          </p:cNvCxnSpPr>
          <p:nvPr/>
        </p:nvCxnSpPr>
        <p:spPr>
          <a:xfrm>
            <a:off x="1501255" y="2707620"/>
            <a:ext cx="1570382" cy="0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A3479FF9-06D8-56F2-35E4-12E2900F1EAE}"/>
              </a:ext>
            </a:extLst>
          </p:cNvPr>
          <p:cNvSpPr txBox="1"/>
          <p:nvPr/>
        </p:nvSpPr>
        <p:spPr>
          <a:xfrm>
            <a:off x="2588179" y="2984805"/>
            <a:ext cx="21843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ses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tifikasi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81C106CD-55C5-0099-8FEC-066E897B88DC}"/>
              </a:ext>
            </a:extLst>
          </p:cNvPr>
          <p:cNvCxnSpPr>
            <a:cxnSpLocks/>
          </p:cNvCxnSpPr>
          <p:nvPr/>
        </p:nvCxnSpPr>
        <p:spPr>
          <a:xfrm rot="5400000">
            <a:off x="2199462" y="2307717"/>
            <a:ext cx="333549" cy="2450196"/>
          </a:xfrm>
          <a:prstGeom prst="bentConnector3">
            <a:avLst/>
          </a:prstGeom>
          <a:ln w="28575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0E741A79-BEF7-D70A-8315-1B7592DE95FE}"/>
              </a:ext>
            </a:extLst>
          </p:cNvPr>
          <p:cNvCxnSpPr>
            <a:cxnSpLocks/>
          </p:cNvCxnSpPr>
          <p:nvPr/>
        </p:nvCxnSpPr>
        <p:spPr>
          <a:xfrm>
            <a:off x="1558846" y="3990489"/>
            <a:ext cx="1594127" cy="0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B8CA1760-BA56-FE4D-FBA5-8ACA8B33CC10}"/>
              </a:ext>
            </a:extLst>
          </p:cNvPr>
          <p:cNvCxnSpPr>
            <a:cxnSpLocks/>
            <a:stCxn id="73" idx="2"/>
          </p:cNvCxnSpPr>
          <p:nvPr/>
        </p:nvCxnSpPr>
        <p:spPr>
          <a:xfrm>
            <a:off x="3585325" y="4284043"/>
            <a:ext cx="0" cy="433610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8" name="Picture 87">
            <a:extLst>
              <a:ext uri="{FF2B5EF4-FFF2-40B4-BE49-F238E27FC236}">
                <a16:creationId xmlns:a16="http://schemas.microsoft.com/office/drawing/2014/main" id="{5EDCE5BF-FEC3-E31C-0996-64A5EDDA2093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6495" y="4779421"/>
            <a:ext cx="2036312" cy="1118594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9FB36CFE-18C1-8E83-1CDC-6F012F4B82BC}"/>
              </a:ext>
            </a:extLst>
          </p:cNvPr>
          <p:cNvSpPr txBox="1"/>
          <p:nvPr/>
        </p:nvSpPr>
        <p:spPr>
          <a:xfrm>
            <a:off x="95661" y="5156057"/>
            <a:ext cx="22201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U DIUNDUH OLEH BUJK MELALUI SIKI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9" name="Rectangle: Rounded Corners 158">
            <a:extLst>
              <a:ext uri="{FF2B5EF4-FFF2-40B4-BE49-F238E27FC236}">
                <a16:creationId xmlns:a16="http://schemas.microsoft.com/office/drawing/2014/main" id="{F130B6C1-D936-D64D-35C4-79C30EB1FFAC}"/>
              </a:ext>
            </a:extLst>
          </p:cNvPr>
          <p:cNvSpPr/>
          <p:nvPr/>
        </p:nvSpPr>
        <p:spPr>
          <a:xfrm>
            <a:off x="9300696" y="2992983"/>
            <a:ext cx="1893004" cy="343957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0" name="Rectangle: Rounded Corners 159">
            <a:extLst>
              <a:ext uri="{FF2B5EF4-FFF2-40B4-BE49-F238E27FC236}">
                <a16:creationId xmlns:a16="http://schemas.microsoft.com/office/drawing/2014/main" id="{668D0322-749C-89AC-6B29-201628723A95}"/>
              </a:ext>
            </a:extLst>
          </p:cNvPr>
          <p:cNvSpPr/>
          <p:nvPr/>
        </p:nvSpPr>
        <p:spPr>
          <a:xfrm>
            <a:off x="7260999" y="3687117"/>
            <a:ext cx="864704" cy="587108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1" name="Rectangle: Rounded Corners 160">
            <a:extLst>
              <a:ext uri="{FF2B5EF4-FFF2-40B4-BE49-F238E27FC236}">
                <a16:creationId xmlns:a16="http://schemas.microsoft.com/office/drawing/2014/main" id="{7C6AA301-E6E1-4907-D7B5-B3B50566575A}"/>
              </a:ext>
            </a:extLst>
          </p:cNvPr>
          <p:cNvSpPr/>
          <p:nvPr/>
        </p:nvSpPr>
        <p:spPr>
          <a:xfrm>
            <a:off x="9719830" y="3687117"/>
            <a:ext cx="864704" cy="587108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2" name="Rectangle: Rounded Corners 161">
            <a:extLst>
              <a:ext uri="{FF2B5EF4-FFF2-40B4-BE49-F238E27FC236}">
                <a16:creationId xmlns:a16="http://schemas.microsoft.com/office/drawing/2014/main" id="{10831C84-BFA3-ADA4-53C3-4CBF4A1E194A}"/>
              </a:ext>
            </a:extLst>
          </p:cNvPr>
          <p:cNvSpPr/>
          <p:nvPr/>
        </p:nvSpPr>
        <p:spPr>
          <a:xfrm>
            <a:off x="9719830" y="1500742"/>
            <a:ext cx="842696" cy="56163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3" name="Rectangle: Rounded Corners 162">
            <a:extLst>
              <a:ext uri="{FF2B5EF4-FFF2-40B4-BE49-F238E27FC236}">
                <a16:creationId xmlns:a16="http://schemas.microsoft.com/office/drawing/2014/main" id="{97087B84-D3DF-8BB7-5A6E-E49009EFE7D8}"/>
              </a:ext>
            </a:extLst>
          </p:cNvPr>
          <p:cNvSpPr/>
          <p:nvPr/>
        </p:nvSpPr>
        <p:spPr>
          <a:xfrm>
            <a:off x="9638494" y="2463086"/>
            <a:ext cx="1217408" cy="505378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4" name="Rectangle: Rounded Corners 163">
            <a:extLst>
              <a:ext uri="{FF2B5EF4-FFF2-40B4-BE49-F238E27FC236}">
                <a16:creationId xmlns:a16="http://schemas.microsoft.com/office/drawing/2014/main" id="{CDBD5C50-5271-F0A0-079E-50D034E03D40}"/>
              </a:ext>
            </a:extLst>
          </p:cNvPr>
          <p:cNvSpPr/>
          <p:nvPr/>
        </p:nvSpPr>
        <p:spPr>
          <a:xfrm>
            <a:off x="7053195" y="2443616"/>
            <a:ext cx="1714354" cy="62756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5" name="Rectangle: Rounded Corners 164">
            <a:extLst>
              <a:ext uri="{FF2B5EF4-FFF2-40B4-BE49-F238E27FC236}">
                <a16:creationId xmlns:a16="http://schemas.microsoft.com/office/drawing/2014/main" id="{C2E7466D-5EF7-591A-C55B-0D02C885AE36}"/>
              </a:ext>
            </a:extLst>
          </p:cNvPr>
          <p:cNvSpPr/>
          <p:nvPr/>
        </p:nvSpPr>
        <p:spPr>
          <a:xfrm>
            <a:off x="7203408" y="1475269"/>
            <a:ext cx="864704" cy="587108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86F51730-884E-1160-AD7B-0306ACDC698A}"/>
              </a:ext>
            </a:extLst>
          </p:cNvPr>
          <p:cNvSpPr txBox="1"/>
          <p:nvPr/>
        </p:nvSpPr>
        <p:spPr>
          <a:xfrm>
            <a:off x="8932816" y="1585849"/>
            <a:ext cx="24538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S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346EA694-C936-450C-1707-4C422544823A}"/>
              </a:ext>
            </a:extLst>
          </p:cNvPr>
          <p:cNvSpPr txBox="1"/>
          <p:nvPr/>
        </p:nvSpPr>
        <p:spPr>
          <a:xfrm>
            <a:off x="7324836" y="1584157"/>
            <a:ext cx="8647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JK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76A43DAF-E0F8-8E86-EC6E-1E28F3149D52}"/>
              </a:ext>
            </a:extLst>
          </p:cNvPr>
          <p:cNvSpPr txBox="1"/>
          <p:nvPr/>
        </p:nvSpPr>
        <p:spPr>
          <a:xfrm>
            <a:off x="6968940" y="2415432"/>
            <a:ext cx="18452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RTAL PERIZINAN PUPR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1C74FC13-A581-3D89-323F-F6DD84BF6898}"/>
              </a:ext>
            </a:extLst>
          </p:cNvPr>
          <p:cNvSpPr txBox="1"/>
          <p:nvPr/>
        </p:nvSpPr>
        <p:spPr>
          <a:xfrm>
            <a:off x="9907808" y="2549682"/>
            <a:ext cx="814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SBU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B4CF29FE-5506-FDAE-7715-ECEE0AF34BC1}"/>
              </a:ext>
            </a:extLst>
          </p:cNvPr>
          <p:cNvSpPr txBox="1"/>
          <p:nvPr/>
        </p:nvSpPr>
        <p:spPr>
          <a:xfrm>
            <a:off x="9808940" y="3798735"/>
            <a:ext cx="7535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JK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22E0133B-8E1B-7F82-5826-3F988CC5F6BC}"/>
              </a:ext>
            </a:extLst>
          </p:cNvPr>
          <p:cNvSpPr txBox="1"/>
          <p:nvPr/>
        </p:nvSpPr>
        <p:spPr>
          <a:xfrm>
            <a:off x="7403607" y="3821117"/>
            <a:ext cx="6035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PJK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72" name="Straight Arrow Connector 171">
            <a:extLst>
              <a:ext uri="{FF2B5EF4-FFF2-40B4-BE49-F238E27FC236}">
                <a16:creationId xmlns:a16="http://schemas.microsoft.com/office/drawing/2014/main" id="{2C6FE56A-FB6A-A7BD-A924-2B04A8545878}"/>
              </a:ext>
            </a:extLst>
          </p:cNvPr>
          <p:cNvCxnSpPr>
            <a:cxnSpLocks/>
          </p:cNvCxnSpPr>
          <p:nvPr/>
        </p:nvCxnSpPr>
        <p:spPr>
          <a:xfrm>
            <a:off x="8068112" y="1768823"/>
            <a:ext cx="1651718" cy="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Connector: Elbow 172">
            <a:extLst>
              <a:ext uri="{FF2B5EF4-FFF2-40B4-BE49-F238E27FC236}">
                <a16:creationId xmlns:a16="http://schemas.microsoft.com/office/drawing/2014/main" id="{FF1C566A-C918-C11A-D68E-F7399B034A03}"/>
              </a:ext>
            </a:extLst>
          </p:cNvPr>
          <p:cNvCxnSpPr>
            <a:cxnSpLocks/>
          </p:cNvCxnSpPr>
          <p:nvPr/>
        </p:nvCxnSpPr>
        <p:spPr>
          <a:xfrm rot="5400000">
            <a:off x="8784211" y="1032697"/>
            <a:ext cx="333549" cy="2450196"/>
          </a:xfrm>
          <a:prstGeom prst="bentConnector3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Arrow Connector 173">
            <a:extLst>
              <a:ext uri="{FF2B5EF4-FFF2-40B4-BE49-F238E27FC236}">
                <a16:creationId xmlns:a16="http://schemas.microsoft.com/office/drawing/2014/main" id="{1F8185FF-F473-B310-984C-DBE248ADDBDC}"/>
              </a:ext>
            </a:extLst>
          </p:cNvPr>
          <p:cNvCxnSpPr>
            <a:cxnSpLocks/>
          </p:cNvCxnSpPr>
          <p:nvPr/>
        </p:nvCxnSpPr>
        <p:spPr>
          <a:xfrm>
            <a:off x="8814177" y="2694589"/>
            <a:ext cx="824317" cy="3213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TextBox 174">
            <a:extLst>
              <a:ext uri="{FF2B5EF4-FFF2-40B4-BE49-F238E27FC236}">
                <a16:creationId xmlns:a16="http://schemas.microsoft.com/office/drawing/2014/main" id="{B043A72D-4864-782C-034E-8611FB7F6206}"/>
              </a:ext>
            </a:extLst>
          </p:cNvPr>
          <p:cNvSpPr txBox="1"/>
          <p:nvPr/>
        </p:nvSpPr>
        <p:spPr>
          <a:xfrm>
            <a:off x="6908990" y="4204261"/>
            <a:ext cx="17143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catat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da SIJKT/SIKI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76" name="Connector: Elbow 175">
            <a:extLst>
              <a:ext uri="{FF2B5EF4-FFF2-40B4-BE49-F238E27FC236}">
                <a16:creationId xmlns:a16="http://schemas.microsoft.com/office/drawing/2014/main" id="{F17D2F50-64F0-7353-4142-68F61BEC4C44}"/>
              </a:ext>
            </a:extLst>
          </p:cNvPr>
          <p:cNvCxnSpPr>
            <a:cxnSpLocks/>
          </p:cNvCxnSpPr>
          <p:nvPr/>
        </p:nvCxnSpPr>
        <p:spPr>
          <a:xfrm rot="5400000">
            <a:off x="8766319" y="2297899"/>
            <a:ext cx="333549" cy="2450196"/>
          </a:xfrm>
          <a:prstGeom prst="bentConnector3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6E096C9C-C279-17C0-85A8-99D0840CCF74}"/>
              </a:ext>
            </a:extLst>
          </p:cNvPr>
          <p:cNvCxnSpPr>
            <a:cxnSpLocks/>
          </p:cNvCxnSpPr>
          <p:nvPr/>
        </p:nvCxnSpPr>
        <p:spPr>
          <a:xfrm>
            <a:off x="8125703" y="3980671"/>
            <a:ext cx="1594127" cy="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Arrow Connector 177">
            <a:extLst>
              <a:ext uri="{FF2B5EF4-FFF2-40B4-BE49-F238E27FC236}">
                <a16:creationId xmlns:a16="http://schemas.microsoft.com/office/drawing/2014/main" id="{7430E66D-78DB-42EF-8EED-EC9B90D44B25}"/>
              </a:ext>
            </a:extLst>
          </p:cNvPr>
          <p:cNvCxnSpPr>
            <a:cxnSpLocks/>
            <a:stCxn id="161" idx="2"/>
          </p:cNvCxnSpPr>
          <p:nvPr/>
        </p:nvCxnSpPr>
        <p:spPr>
          <a:xfrm>
            <a:off x="10152182" y="4274225"/>
            <a:ext cx="0" cy="433610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TextBox 178">
            <a:extLst>
              <a:ext uri="{FF2B5EF4-FFF2-40B4-BE49-F238E27FC236}">
                <a16:creationId xmlns:a16="http://schemas.microsoft.com/office/drawing/2014/main" id="{BB913C41-58C1-D79C-07B7-3EC97738119B}"/>
              </a:ext>
            </a:extLst>
          </p:cNvPr>
          <p:cNvSpPr txBox="1"/>
          <p:nvPr/>
        </p:nvSpPr>
        <p:spPr>
          <a:xfrm>
            <a:off x="9288471" y="2976690"/>
            <a:ext cx="1991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ses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tifikasi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81" name="Picture 180">
            <a:extLst>
              <a:ext uri="{FF2B5EF4-FFF2-40B4-BE49-F238E27FC236}">
                <a16:creationId xmlns:a16="http://schemas.microsoft.com/office/drawing/2014/main" id="{2AE2EADD-9044-6824-3326-986AA8E02FB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363" r="3091"/>
          <a:stretch/>
        </p:blipFill>
        <p:spPr>
          <a:xfrm>
            <a:off x="9571259" y="4755902"/>
            <a:ext cx="1339674" cy="1878799"/>
          </a:xfrm>
          <a:prstGeom prst="rect">
            <a:avLst/>
          </a:prstGeom>
        </p:spPr>
      </p:pic>
      <p:sp>
        <p:nvSpPr>
          <p:cNvPr id="184" name="TextBox 183">
            <a:extLst>
              <a:ext uri="{FF2B5EF4-FFF2-40B4-BE49-F238E27FC236}">
                <a16:creationId xmlns:a16="http://schemas.microsoft.com/office/drawing/2014/main" id="{425707E2-48ED-5F47-D037-DE14F4561E62}"/>
              </a:ext>
            </a:extLst>
          </p:cNvPr>
          <p:cNvSpPr txBox="1"/>
          <p:nvPr/>
        </p:nvSpPr>
        <p:spPr>
          <a:xfrm>
            <a:off x="7233911" y="5167799"/>
            <a:ext cx="22201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U DIUNDUH OLEH BUJK MELALUI OSS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88" name="Picture 187">
            <a:extLst>
              <a:ext uri="{FF2B5EF4-FFF2-40B4-BE49-F238E27FC236}">
                <a16:creationId xmlns:a16="http://schemas.microsoft.com/office/drawing/2014/main" id="{5EA4EA28-51D7-AA67-5E37-2C0BB891D1E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6061" b="89773" l="9948" r="94241">
                        <a14:foregroundMark x1="17801" y1="16288" x2="38743" y2="49242"/>
                        <a14:foregroundMark x1="38743" y1="49242" x2="65445" y2="6061"/>
                        <a14:foregroundMark x1="94241" y1="28409" x2="93194" y2="4090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9174" y="1848303"/>
            <a:ext cx="1584676" cy="2190337"/>
          </a:xfrm>
          <a:prstGeom prst="rect">
            <a:avLst/>
          </a:prstGeom>
        </p:spPr>
      </p:pic>
      <p:sp>
        <p:nvSpPr>
          <p:cNvPr id="189" name="TextBox 188">
            <a:extLst>
              <a:ext uri="{FF2B5EF4-FFF2-40B4-BE49-F238E27FC236}">
                <a16:creationId xmlns:a16="http://schemas.microsoft.com/office/drawing/2014/main" id="{5C860EAC-9E62-F477-D1B0-C223E6C7D936}"/>
              </a:ext>
            </a:extLst>
          </p:cNvPr>
          <p:cNvSpPr txBox="1"/>
          <p:nvPr/>
        </p:nvSpPr>
        <p:spPr>
          <a:xfrm>
            <a:off x="240237" y="621924"/>
            <a:ext cx="10892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SPK LAMA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" name="Rectangle: Diagonal Corners Snipped 190">
            <a:extLst>
              <a:ext uri="{FF2B5EF4-FFF2-40B4-BE49-F238E27FC236}">
                <a16:creationId xmlns:a16="http://schemas.microsoft.com/office/drawing/2014/main" id="{9300FB78-B0EB-7F19-49C5-86C0694CFEB4}"/>
              </a:ext>
            </a:extLst>
          </p:cNvPr>
          <p:cNvSpPr/>
          <p:nvPr/>
        </p:nvSpPr>
        <p:spPr>
          <a:xfrm>
            <a:off x="6929893" y="591652"/>
            <a:ext cx="949101" cy="681282"/>
          </a:xfrm>
          <a:prstGeom prst="snip2DiagRect">
            <a:avLst/>
          </a:prstGeom>
          <a:solidFill>
            <a:srgbClr val="05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F8A75870-39EB-47F2-44A0-7B850582DDD4}"/>
              </a:ext>
            </a:extLst>
          </p:cNvPr>
          <p:cNvSpPr txBox="1"/>
          <p:nvPr/>
        </p:nvSpPr>
        <p:spPr>
          <a:xfrm>
            <a:off x="6855792" y="603201"/>
            <a:ext cx="10892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SPK BARU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3" name="Rectangle: Rounded Corners 192">
            <a:extLst>
              <a:ext uri="{FF2B5EF4-FFF2-40B4-BE49-F238E27FC236}">
                <a16:creationId xmlns:a16="http://schemas.microsoft.com/office/drawing/2014/main" id="{5A9D7311-07F9-F42C-9C1D-E70DCA24EFD2}"/>
              </a:ext>
            </a:extLst>
          </p:cNvPr>
          <p:cNvSpPr/>
          <p:nvPr/>
        </p:nvSpPr>
        <p:spPr>
          <a:xfrm>
            <a:off x="608714" y="4285683"/>
            <a:ext cx="1056413" cy="558762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F1BC847D-7746-A864-0688-86A63BF75B19}"/>
              </a:ext>
            </a:extLst>
          </p:cNvPr>
          <p:cNvSpPr txBox="1"/>
          <p:nvPr/>
        </p:nvSpPr>
        <p:spPr>
          <a:xfrm>
            <a:off x="383148" y="4274225"/>
            <a:ext cx="15075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stras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da SIKI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D4232DD-BAFE-8B20-1826-CB1694F88EE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B925CDA6-A4CD-0591-1D8A-258AC146CD95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6FD3A302-93DF-51E0-C592-2A91019EC9CD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7B4C6EAF-55D4-9A79-C003-56EA8777684E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3768052E-69BB-BD01-DE49-F7BDD3B980E1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853845F-EE98-CEEC-3FC6-D90F1A9540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38458625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1D66DC-1C90-6948-BC17-50F085AA93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81F06F8-F742-4F8E-E828-F604DDD06B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931" y="2534123"/>
            <a:ext cx="12192000" cy="50537"/>
          </a:xfrm>
          <a:prstGeom prst="rect">
            <a:avLst/>
          </a:prstGeom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664E9A18-AB21-C423-59B6-F3B5A1E652DD}"/>
              </a:ext>
            </a:extLst>
          </p:cNvPr>
          <p:cNvSpPr txBox="1"/>
          <p:nvPr/>
        </p:nvSpPr>
        <p:spPr>
          <a:xfrm>
            <a:off x="2469515" y="4462655"/>
            <a:ext cx="9012572" cy="150297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4800" b="1" spc="-90" dirty="0">
                <a:solidFill>
                  <a:srgbClr val="002060"/>
                </a:solidFill>
                <a:latin typeface="Verdana"/>
                <a:cs typeface="Verdana"/>
              </a:rPr>
              <a:t>PERAN ASOSIASI</a:t>
            </a:r>
          </a:p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4800" b="1" spc="-90" dirty="0">
                <a:solidFill>
                  <a:srgbClr val="002060"/>
                </a:solidFill>
                <a:latin typeface="Verdana"/>
                <a:cs typeface="Verdana"/>
              </a:rPr>
              <a:t>BADAN USAHA</a:t>
            </a:r>
            <a:endParaRPr sz="4800" dirty="0">
              <a:solidFill>
                <a:srgbClr val="002060"/>
              </a:solidFill>
              <a:latin typeface="Verdana"/>
              <a:cs typeface="Verdana"/>
            </a:endParaRPr>
          </a:p>
        </p:txBody>
      </p:sp>
      <p:pic>
        <p:nvPicPr>
          <p:cNvPr id="5" name="object 5">
            <a:extLst>
              <a:ext uri="{FF2B5EF4-FFF2-40B4-BE49-F238E27FC236}">
                <a16:creationId xmlns:a16="http://schemas.microsoft.com/office/drawing/2014/main" id="{B7BABBC3-5643-6EB6-D5B9-3476E21D1686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818119" y="457200"/>
            <a:ext cx="4605020" cy="2806700"/>
          </a:xfrm>
          <a:prstGeom prst="rect">
            <a:avLst/>
          </a:prstGeom>
        </p:spPr>
      </p:pic>
      <p:sp>
        <p:nvSpPr>
          <p:cNvPr id="7" name="object 7">
            <a:extLst>
              <a:ext uri="{FF2B5EF4-FFF2-40B4-BE49-F238E27FC236}">
                <a16:creationId xmlns:a16="http://schemas.microsoft.com/office/drawing/2014/main" id="{9376A4C1-9292-2296-330E-B6B08A3290CF}"/>
              </a:ext>
            </a:extLst>
          </p:cNvPr>
          <p:cNvSpPr/>
          <p:nvPr/>
        </p:nvSpPr>
        <p:spPr>
          <a:xfrm>
            <a:off x="-11931" y="-228600"/>
            <a:ext cx="10261600" cy="2771140"/>
          </a:xfrm>
          <a:custGeom>
            <a:avLst/>
            <a:gdLst/>
            <a:ahLst/>
            <a:cxnLst/>
            <a:rect l="l" t="t" r="r" b="b"/>
            <a:pathLst>
              <a:path w="10261600" h="2771140">
                <a:moveTo>
                  <a:pt x="9645050" y="0"/>
                </a:moveTo>
                <a:lnTo>
                  <a:pt x="0" y="0"/>
                </a:lnTo>
                <a:lnTo>
                  <a:pt x="0" y="2771140"/>
                </a:lnTo>
                <a:lnTo>
                  <a:pt x="9278493" y="2771140"/>
                </a:lnTo>
                <a:lnTo>
                  <a:pt x="10261600" y="1068070"/>
                </a:lnTo>
                <a:lnTo>
                  <a:pt x="9645050" y="0"/>
                </a:lnTo>
                <a:close/>
              </a:path>
            </a:pathLst>
          </a:custGeom>
          <a:solidFill>
            <a:schemeClr val="bg1">
              <a:lumMod val="85000"/>
              <a:alpha val="46665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B99D87A2-E228-5C78-0822-263A5A331459}"/>
              </a:ext>
            </a:extLst>
          </p:cNvPr>
          <p:cNvSpPr/>
          <p:nvPr/>
        </p:nvSpPr>
        <p:spPr>
          <a:xfrm>
            <a:off x="6471920" y="-93980"/>
            <a:ext cx="5742940" cy="3357879"/>
          </a:xfrm>
          <a:custGeom>
            <a:avLst/>
            <a:gdLst/>
            <a:ahLst/>
            <a:cxnLst/>
            <a:rect l="l" t="t" r="r" b="b"/>
            <a:pathLst>
              <a:path w="5742940" h="3357879">
                <a:moveTo>
                  <a:pt x="4774692" y="0"/>
                </a:moveTo>
                <a:lnTo>
                  <a:pt x="968248" y="0"/>
                </a:lnTo>
                <a:lnTo>
                  <a:pt x="0" y="1678939"/>
                </a:lnTo>
                <a:lnTo>
                  <a:pt x="968248" y="3357879"/>
                </a:lnTo>
                <a:lnTo>
                  <a:pt x="4774692" y="3357879"/>
                </a:lnTo>
                <a:lnTo>
                  <a:pt x="5742940" y="1678939"/>
                </a:lnTo>
                <a:lnTo>
                  <a:pt x="4774692" y="0"/>
                </a:lnTo>
                <a:close/>
              </a:path>
            </a:pathLst>
          </a:custGeom>
          <a:solidFill>
            <a:srgbClr val="36528A">
              <a:alpha val="67842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7" descr="Text, logo&#10;&#10;Description automatically generated">
            <a:extLst>
              <a:ext uri="{FF2B5EF4-FFF2-40B4-BE49-F238E27FC236}">
                <a16:creationId xmlns:a16="http://schemas.microsoft.com/office/drawing/2014/main" id="{29974BFE-70BC-BA1A-99BF-059081DA50D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043" y="67678"/>
            <a:ext cx="1615921" cy="614684"/>
          </a:xfrm>
          <a:prstGeom prst="rect">
            <a:avLst/>
          </a:prstGeom>
        </p:spPr>
      </p:pic>
      <p:pic>
        <p:nvPicPr>
          <p:cNvPr id="9" name="Picture 30" descr="A black background with red and black text&#10;&#10;Description automatically generated">
            <a:extLst>
              <a:ext uri="{FF2B5EF4-FFF2-40B4-BE49-F238E27FC236}">
                <a16:creationId xmlns:a16="http://schemas.microsoft.com/office/drawing/2014/main" id="{D59258F3-5127-8250-7688-100E2B279DD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1968133" y="-164396"/>
            <a:ext cx="1106668" cy="1106668"/>
          </a:xfrm>
          <a:prstGeom prst="rect">
            <a:avLst/>
          </a:prstGeom>
        </p:spPr>
      </p:pic>
      <p:pic>
        <p:nvPicPr>
          <p:cNvPr id="10" name="Picture 9" descr="lgo sigap.png">
            <a:extLst>
              <a:ext uri="{FF2B5EF4-FFF2-40B4-BE49-F238E27FC236}">
                <a16:creationId xmlns:a16="http://schemas.microsoft.com/office/drawing/2014/main" id="{75808627-9789-5C5F-7CEF-A84544F28D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  <p:sp>
        <p:nvSpPr>
          <p:cNvPr id="11" name="object 2">
            <a:extLst>
              <a:ext uri="{FF2B5EF4-FFF2-40B4-BE49-F238E27FC236}">
                <a16:creationId xmlns:a16="http://schemas.microsoft.com/office/drawing/2014/main" id="{561860D8-FF3D-0E63-AEB1-76D18CC06737}"/>
              </a:ext>
            </a:extLst>
          </p:cNvPr>
          <p:cNvSpPr txBox="1"/>
          <p:nvPr/>
        </p:nvSpPr>
        <p:spPr>
          <a:xfrm>
            <a:off x="269043" y="3106740"/>
            <a:ext cx="1534474" cy="32444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1000" b="1" spc="-9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endParaRPr sz="210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91714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Picture 73">
            <a:extLst>
              <a:ext uri="{FF2B5EF4-FFF2-40B4-BE49-F238E27FC236}">
                <a16:creationId xmlns:a16="http://schemas.microsoft.com/office/drawing/2014/main" id="{02247393-C9BC-E047-838B-143E4AB629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37" b="3337"/>
          <a:stretch/>
        </p:blipFill>
        <p:spPr>
          <a:xfrm>
            <a:off x="238632" y="1154472"/>
            <a:ext cx="10455176" cy="5367114"/>
          </a:xfrm>
          <a:custGeom>
            <a:avLst/>
            <a:gdLst>
              <a:gd name="connsiteX0" fmla="*/ 330196 w 6868633"/>
              <a:gd name="connsiteY0" fmla="*/ 0 h 4267200"/>
              <a:gd name="connsiteX1" fmla="*/ 6538437 w 6868633"/>
              <a:gd name="connsiteY1" fmla="*/ 0 h 4267200"/>
              <a:gd name="connsiteX2" fmla="*/ 6868633 w 6868633"/>
              <a:gd name="connsiteY2" fmla="*/ 330196 h 4267200"/>
              <a:gd name="connsiteX3" fmla="*/ 6868633 w 6868633"/>
              <a:gd name="connsiteY3" fmla="*/ 3937004 h 4267200"/>
              <a:gd name="connsiteX4" fmla="*/ 6538437 w 6868633"/>
              <a:gd name="connsiteY4" fmla="*/ 4267200 h 4267200"/>
              <a:gd name="connsiteX5" fmla="*/ 330196 w 6868633"/>
              <a:gd name="connsiteY5" fmla="*/ 4267200 h 4267200"/>
              <a:gd name="connsiteX6" fmla="*/ 0 w 6868633"/>
              <a:gd name="connsiteY6" fmla="*/ 3937004 h 4267200"/>
              <a:gd name="connsiteX7" fmla="*/ 0 w 6868633"/>
              <a:gd name="connsiteY7" fmla="*/ 330196 h 4267200"/>
              <a:gd name="connsiteX8" fmla="*/ 330196 w 6868633"/>
              <a:gd name="connsiteY8" fmla="*/ 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868633" h="4267200">
                <a:moveTo>
                  <a:pt x="330196" y="0"/>
                </a:moveTo>
                <a:lnTo>
                  <a:pt x="6538437" y="0"/>
                </a:lnTo>
                <a:cubicBezTo>
                  <a:pt x="6720799" y="0"/>
                  <a:pt x="6868633" y="147834"/>
                  <a:pt x="6868633" y="330196"/>
                </a:cubicBezTo>
                <a:lnTo>
                  <a:pt x="6868633" y="3937004"/>
                </a:lnTo>
                <a:cubicBezTo>
                  <a:pt x="6868633" y="4119366"/>
                  <a:pt x="6720799" y="4267200"/>
                  <a:pt x="6538437" y="4267200"/>
                </a:cubicBezTo>
                <a:lnTo>
                  <a:pt x="330196" y="4267200"/>
                </a:lnTo>
                <a:cubicBezTo>
                  <a:pt x="147834" y="4267200"/>
                  <a:pt x="0" y="4119366"/>
                  <a:pt x="0" y="3937004"/>
                </a:cubicBezTo>
                <a:lnTo>
                  <a:pt x="0" y="330196"/>
                </a:lnTo>
                <a:cubicBezTo>
                  <a:pt x="0" y="147834"/>
                  <a:pt x="147834" y="0"/>
                  <a:pt x="330196" y="0"/>
                </a:cubicBezTo>
                <a:close/>
              </a:path>
            </a:pathLst>
          </a:custGeom>
        </p:spPr>
      </p:pic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786225E-0920-544C-BE2B-366273FDBAA4}"/>
              </a:ext>
            </a:extLst>
          </p:cNvPr>
          <p:cNvSpPr/>
          <p:nvPr/>
        </p:nvSpPr>
        <p:spPr>
          <a:xfrm>
            <a:off x="238632" y="1154472"/>
            <a:ext cx="10455176" cy="5439502"/>
          </a:xfrm>
          <a:prstGeom prst="roundRect">
            <a:avLst>
              <a:gd name="adj" fmla="val 7738"/>
            </a:avLst>
          </a:prstGeom>
          <a:solidFill>
            <a:schemeClr val="bg1">
              <a:alpha val="90000"/>
            </a:schemeClr>
          </a:solidFill>
          <a:ln>
            <a:noFill/>
          </a:ln>
          <a:effectLst>
            <a:outerShdw blurRad="4445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A86C56A-3E44-CB42-81B9-AD8320EBFE5C}"/>
              </a:ext>
            </a:extLst>
          </p:cNvPr>
          <p:cNvCxnSpPr>
            <a:cxnSpLocks/>
          </p:cNvCxnSpPr>
          <p:nvPr/>
        </p:nvCxnSpPr>
        <p:spPr>
          <a:xfrm>
            <a:off x="8893629" y="680365"/>
            <a:ext cx="329837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025BA1E-E6D8-DC43-B34A-039CB3168EB7}"/>
              </a:ext>
            </a:extLst>
          </p:cNvPr>
          <p:cNvCxnSpPr>
            <a:cxnSpLocks/>
          </p:cNvCxnSpPr>
          <p:nvPr/>
        </p:nvCxnSpPr>
        <p:spPr>
          <a:xfrm>
            <a:off x="0" y="680365"/>
            <a:ext cx="308065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Freeform 78">
            <a:extLst>
              <a:ext uri="{FF2B5EF4-FFF2-40B4-BE49-F238E27FC236}">
                <a16:creationId xmlns:a16="http://schemas.microsoft.com/office/drawing/2014/main" id="{58900015-B78B-B24D-8429-B77D6FF381E0}"/>
              </a:ext>
            </a:extLst>
          </p:cNvPr>
          <p:cNvSpPr/>
          <p:nvPr/>
        </p:nvSpPr>
        <p:spPr>
          <a:xfrm flipH="1">
            <a:off x="8976421" y="2636165"/>
            <a:ext cx="4156263" cy="2906468"/>
          </a:xfrm>
          <a:custGeom>
            <a:avLst/>
            <a:gdLst>
              <a:gd name="connsiteX0" fmla="*/ 2703029 w 4156263"/>
              <a:gd name="connsiteY0" fmla="*/ 0 h 2906468"/>
              <a:gd name="connsiteX1" fmla="*/ 0 w 4156263"/>
              <a:gd name="connsiteY1" fmla="*/ 0 h 2906468"/>
              <a:gd name="connsiteX2" fmla="*/ 0 w 4156263"/>
              <a:gd name="connsiteY2" fmla="*/ 2906468 h 2906468"/>
              <a:gd name="connsiteX3" fmla="*/ 2703029 w 4156263"/>
              <a:gd name="connsiteY3" fmla="*/ 2906468 h 2906468"/>
              <a:gd name="connsiteX4" fmla="*/ 4156263 w 4156263"/>
              <a:gd name="connsiteY4" fmla="*/ 1453234 h 2906468"/>
              <a:gd name="connsiteX5" fmla="*/ 2703029 w 4156263"/>
              <a:gd name="connsiteY5" fmla="*/ 0 h 2906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56263" h="2906468">
                <a:moveTo>
                  <a:pt x="2703029" y="0"/>
                </a:moveTo>
                <a:lnTo>
                  <a:pt x="0" y="0"/>
                </a:lnTo>
                <a:lnTo>
                  <a:pt x="0" y="2906468"/>
                </a:lnTo>
                <a:lnTo>
                  <a:pt x="2703029" y="2906468"/>
                </a:lnTo>
                <a:cubicBezTo>
                  <a:pt x="3505628" y="2906468"/>
                  <a:pt x="4156263" y="2255833"/>
                  <a:pt x="4156263" y="1453234"/>
                </a:cubicBezTo>
                <a:cubicBezTo>
                  <a:pt x="4156263" y="650635"/>
                  <a:pt x="3505628" y="0"/>
                  <a:pt x="2703029" y="0"/>
                </a:cubicBezTo>
                <a:close/>
              </a:path>
            </a:pathLst>
          </a:custGeom>
          <a:solidFill>
            <a:srgbClr val="F3B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13B40875-14B7-6848-A1C5-271CCBB767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16" r="16716"/>
          <a:stretch/>
        </p:blipFill>
        <p:spPr>
          <a:xfrm>
            <a:off x="9209008" y="2869961"/>
            <a:ext cx="2438876" cy="2438876"/>
          </a:xfrm>
          <a:custGeom>
            <a:avLst/>
            <a:gdLst>
              <a:gd name="connsiteX0" fmla="*/ 1219438 w 2438876"/>
              <a:gd name="connsiteY0" fmla="*/ 0 h 2438876"/>
              <a:gd name="connsiteX1" fmla="*/ 2438876 w 2438876"/>
              <a:gd name="connsiteY1" fmla="*/ 1219438 h 2438876"/>
              <a:gd name="connsiteX2" fmla="*/ 1219438 w 2438876"/>
              <a:gd name="connsiteY2" fmla="*/ 2438876 h 2438876"/>
              <a:gd name="connsiteX3" fmla="*/ 0 w 2438876"/>
              <a:gd name="connsiteY3" fmla="*/ 1219438 h 2438876"/>
              <a:gd name="connsiteX4" fmla="*/ 1219438 w 2438876"/>
              <a:gd name="connsiteY4" fmla="*/ 0 h 2438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38876" h="2438876">
                <a:moveTo>
                  <a:pt x="1219438" y="0"/>
                </a:moveTo>
                <a:cubicBezTo>
                  <a:pt x="1892915" y="0"/>
                  <a:pt x="2438876" y="545961"/>
                  <a:pt x="2438876" y="1219438"/>
                </a:cubicBezTo>
                <a:cubicBezTo>
                  <a:pt x="2438876" y="1892915"/>
                  <a:pt x="1892915" y="2438876"/>
                  <a:pt x="1219438" y="2438876"/>
                </a:cubicBezTo>
                <a:cubicBezTo>
                  <a:pt x="545961" y="2438876"/>
                  <a:pt x="0" y="1892915"/>
                  <a:pt x="0" y="1219438"/>
                </a:cubicBezTo>
                <a:cubicBezTo>
                  <a:pt x="0" y="545961"/>
                  <a:pt x="545961" y="0"/>
                  <a:pt x="1219438" y="0"/>
                </a:cubicBezTo>
                <a:close/>
              </a:path>
            </a:pathLst>
          </a:custGeom>
        </p:spPr>
      </p:pic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509A5F91-6313-0341-BE92-30797C57B7D1}"/>
              </a:ext>
            </a:extLst>
          </p:cNvPr>
          <p:cNvSpPr/>
          <p:nvPr/>
        </p:nvSpPr>
        <p:spPr>
          <a:xfrm>
            <a:off x="604158" y="1738651"/>
            <a:ext cx="2476500" cy="626921"/>
          </a:xfrm>
          <a:prstGeom prst="roundRect">
            <a:avLst>
              <a:gd name="adj" fmla="val 50000"/>
            </a:avLst>
          </a:prstGeom>
          <a:solidFill>
            <a:srgbClr val="F3BE21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20" name="TextBox 4">
            <a:extLst>
              <a:ext uri="{FF2B5EF4-FFF2-40B4-BE49-F238E27FC236}">
                <a16:creationId xmlns:a16="http://schemas.microsoft.com/office/drawing/2014/main" id="{0584F2C5-5F27-F84E-A538-44DFF3F2E805}"/>
              </a:ext>
            </a:extLst>
          </p:cNvPr>
          <p:cNvSpPr txBox="1"/>
          <p:nvPr/>
        </p:nvSpPr>
        <p:spPr>
          <a:xfrm>
            <a:off x="604157" y="1362562"/>
            <a:ext cx="7569200" cy="23083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Pembinaan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Jasa 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Konstruksi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dilakukan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oleh: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B6F41562-A630-6A4A-96DC-D813E9F7D7BF}"/>
              </a:ext>
            </a:extLst>
          </p:cNvPr>
          <p:cNvSpPr/>
          <p:nvPr/>
        </p:nvSpPr>
        <p:spPr>
          <a:xfrm>
            <a:off x="3150507" y="1758991"/>
            <a:ext cx="2476500" cy="626921"/>
          </a:xfrm>
          <a:prstGeom prst="roundRect">
            <a:avLst>
              <a:gd name="adj" fmla="val 50000"/>
            </a:avLst>
          </a:prstGeom>
          <a:solidFill>
            <a:srgbClr val="F3BE21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EC3D010E-9B3C-2A4C-8FF4-3F4D27C7E4C0}"/>
              </a:ext>
            </a:extLst>
          </p:cNvPr>
          <p:cNvSpPr/>
          <p:nvPr/>
        </p:nvSpPr>
        <p:spPr>
          <a:xfrm>
            <a:off x="5696857" y="1769143"/>
            <a:ext cx="2476500" cy="626921"/>
          </a:xfrm>
          <a:prstGeom prst="roundRect">
            <a:avLst>
              <a:gd name="adj" fmla="val 50000"/>
            </a:avLst>
          </a:prstGeom>
          <a:solidFill>
            <a:srgbClr val="F3BE21"/>
          </a:solidFill>
          <a:ln>
            <a:noFill/>
          </a:ln>
          <a:effectLst>
            <a:outerShdw blurRad="508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24" name="TextBox 4">
            <a:extLst>
              <a:ext uri="{FF2B5EF4-FFF2-40B4-BE49-F238E27FC236}">
                <a16:creationId xmlns:a16="http://schemas.microsoft.com/office/drawing/2014/main" id="{A119B1B0-D5C5-8047-AC0F-B1B2062C1859}"/>
              </a:ext>
            </a:extLst>
          </p:cNvPr>
          <p:cNvSpPr txBox="1"/>
          <p:nvPr/>
        </p:nvSpPr>
        <p:spPr>
          <a:xfrm>
            <a:off x="683859" y="1929001"/>
            <a:ext cx="2336800" cy="2462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EMERINTAH PUSAT</a:t>
            </a:r>
          </a:p>
        </p:txBody>
      </p:sp>
      <p:sp>
        <p:nvSpPr>
          <p:cNvPr id="25" name="TextBox 4">
            <a:extLst>
              <a:ext uri="{FF2B5EF4-FFF2-40B4-BE49-F238E27FC236}">
                <a16:creationId xmlns:a16="http://schemas.microsoft.com/office/drawing/2014/main" id="{8D919304-C083-FE48-8D60-BE4DD42E8D8A}"/>
              </a:ext>
            </a:extLst>
          </p:cNvPr>
          <p:cNvSpPr txBox="1"/>
          <p:nvPr/>
        </p:nvSpPr>
        <p:spPr>
          <a:xfrm>
            <a:off x="3206468" y="1968637"/>
            <a:ext cx="2336800" cy="2462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EMDA PROVINSI</a:t>
            </a:r>
          </a:p>
        </p:txBody>
      </p:sp>
      <p:sp>
        <p:nvSpPr>
          <p:cNvPr id="26" name="TextBox 4">
            <a:extLst>
              <a:ext uri="{FF2B5EF4-FFF2-40B4-BE49-F238E27FC236}">
                <a16:creationId xmlns:a16="http://schemas.microsoft.com/office/drawing/2014/main" id="{BD2FA8EB-5A7C-F349-A8F9-3C58EA2CA1B9}"/>
              </a:ext>
            </a:extLst>
          </p:cNvPr>
          <p:cNvSpPr txBox="1"/>
          <p:nvPr/>
        </p:nvSpPr>
        <p:spPr>
          <a:xfrm>
            <a:off x="5766707" y="1856215"/>
            <a:ext cx="2336800" cy="49244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EMDA KABUPATEN / KOTA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9B728E9-5353-494C-9E46-7BE711159EC0}"/>
              </a:ext>
            </a:extLst>
          </p:cNvPr>
          <p:cNvSpPr/>
          <p:nvPr/>
        </p:nvSpPr>
        <p:spPr>
          <a:xfrm>
            <a:off x="604157" y="2586413"/>
            <a:ext cx="7569200" cy="2633523"/>
          </a:xfrm>
          <a:prstGeom prst="rect">
            <a:avLst/>
          </a:prstGeom>
          <a:solidFill>
            <a:srgbClr val="1E32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27" name="TextBox 4">
            <a:extLst>
              <a:ext uri="{FF2B5EF4-FFF2-40B4-BE49-F238E27FC236}">
                <a16:creationId xmlns:a16="http://schemas.microsoft.com/office/drawing/2014/main" id="{79FA7A8A-1FAD-2F4B-B478-EDFF85D20C8A}"/>
              </a:ext>
            </a:extLst>
          </p:cNvPr>
          <p:cNvSpPr txBox="1"/>
          <p:nvPr/>
        </p:nvSpPr>
        <p:spPr>
          <a:xfrm>
            <a:off x="683859" y="2717286"/>
            <a:ext cx="7227295" cy="215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Pembina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Jas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Konstruks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dilakuk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kepad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Masyarakat Jas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Konstruks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, yang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terdir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ata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:</a:t>
            </a:r>
          </a:p>
        </p:txBody>
      </p:sp>
      <p:sp>
        <p:nvSpPr>
          <p:cNvPr id="28" name="TextBox 23">
            <a:extLst>
              <a:ext uri="{FF2B5EF4-FFF2-40B4-BE49-F238E27FC236}">
                <a16:creationId xmlns:a16="http://schemas.microsoft.com/office/drawing/2014/main" id="{C0EACB79-2A6A-D745-9095-53F71E9E5AC9}"/>
              </a:ext>
            </a:extLst>
          </p:cNvPr>
          <p:cNvSpPr txBox="1"/>
          <p:nvPr/>
        </p:nvSpPr>
        <p:spPr>
          <a:xfrm>
            <a:off x="1498192" y="3201694"/>
            <a:ext cx="5339296" cy="1700915"/>
          </a:xfrm>
          <a:prstGeom prst="rect">
            <a:avLst/>
          </a:prstGeom>
        </p:spPr>
        <p:txBody>
          <a:bodyPr wrap="square" lIns="0" tIns="0" rIns="0" bIns="0" numCol="2" rtlCol="0" anchor="t">
            <a:spAutoFit/>
          </a:bodyPr>
          <a:lstStyle/>
          <a:p>
            <a:pPr marL="228611" marR="0" lvl="0" indent="-228611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C1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sosiasi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C1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C1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ofesi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C100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228611" marR="0" lvl="0" indent="-228611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C1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sosiasi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C100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Badan Usaha</a:t>
            </a:r>
          </a:p>
          <a:p>
            <a:pPr marL="228611" marR="0" lvl="0" indent="-228611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LPPK</a:t>
            </a:r>
          </a:p>
          <a:p>
            <a:pPr marL="228611" marR="0" lvl="0" indent="-228611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enggun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Jasa</a:t>
            </a:r>
          </a:p>
          <a:p>
            <a:pPr marL="228611" marR="0" lvl="0" indent="-228611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enyedi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Jasa</a:t>
            </a:r>
          </a:p>
          <a:p>
            <a:pPr marL="228611" marR="0" lvl="0" indent="-228611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erguru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Tinggi/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akar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228611" marR="0" lvl="0" indent="-228611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228611" marR="0" lvl="0" indent="-228611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elaku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Ranta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asok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228611" marR="0" lvl="0" indent="-228611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Tenag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Kerj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Konstruks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228611" marR="0" lvl="0" indent="-228611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emerhat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Konstruks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228611" marR="0" lvl="0" indent="-228611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Lembag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Sertifikas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Jas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Konstruks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228611" marR="0" lvl="0" indent="-228611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emanfaa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Produ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Jas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Konstruksi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sp>
        <p:nvSpPr>
          <p:cNvPr id="29" name="TextBox 27">
            <a:extLst>
              <a:ext uri="{FF2B5EF4-FFF2-40B4-BE49-F238E27FC236}">
                <a16:creationId xmlns:a16="http://schemas.microsoft.com/office/drawing/2014/main" id="{C4A5BA2C-C4E0-1B40-A5F8-17151D861B46}"/>
              </a:ext>
            </a:extLst>
          </p:cNvPr>
          <p:cNvSpPr txBox="1"/>
          <p:nvPr/>
        </p:nvSpPr>
        <p:spPr>
          <a:xfrm>
            <a:off x="301132" y="741019"/>
            <a:ext cx="5635686" cy="24365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P 14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ahu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2021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asal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97 Ayat (1) &amp; (2)</a:t>
            </a:r>
          </a:p>
        </p:txBody>
      </p:sp>
      <p:sp>
        <p:nvSpPr>
          <p:cNvPr id="31" name="TextBox 27">
            <a:extLst>
              <a:ext uri="{FF2B5EF4-FFF2-40B4-BE49-F238E27FC236}">
                <a16:creationId xmlns:a16="http://schemas.microsoft.com/office/drawing/2014/main" id="{52297F54-6D92-3A4B-98DB-F1D7D821074F}"/>
              </a:ext>
            </a:extLst>
          </p:cNvPr>
          <p:cNvSpPr txBox="1"/>
          <p:nvPr/>
        </p:nvSpPr>
        <p:spPr>
          <a:xfrm>
            <a:off x="558743" y="5678305"/>
            <a:ext cx="10037595" cy="72334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285750" marR="0" lvl="0" indent="-285750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1" i="0" u="none" strike="noStrike" kern="1200" cap="none" spc="0" normalizeH="0" baseline="0" noProof="0" dirty="0" err="1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Pemberdayaan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en-US" sz="1500" b="1" i="0" u="none" strike="noStrike" kern="1200" cap="none" spc="0" normalizeH="0" baseline="0" noProof="0" dirty="0" err="1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asosiasi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en-US" sz="1500" b="1" i="0" u="none" strike="noStrike" kern="1200" cap="none" spc="0" normalizeH="0" baseline="0" noProof="0" dirty="0" err="1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dilakukan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en-US" sz="1500" b="1" i="0" u="none" strike="noStrike" kern="1200" cap="none" spc="0" normalizeH="0" baseline="0" noProof="0" dirty="0" err="1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melalui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en-US" sz="1500" b="1" i="0" u="none" strike="noStrike" kern="1200" cap="none" spc="0" normalizeH="0" baseline="0" noProof="0" dirty="0" err="1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akreditasi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en-US" sz="1500" b="1" i="0" u="none" strike="noStrike" kern="1200" cap="none" spc="0" normalizeH="0" baseline="0" noProof="0" dirty="0" err="1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asosiasi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untuk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menilai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dan 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bukti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pengakuan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formal 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untuk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menentukan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kelayakan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asosiasi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.</a:t>
            </a:r>
          </a:p>
          <a:p>
            <a:pPr marL="285750" marR="0" lvl="0" indent="-285750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1" i="0" u="none" strike="noStrike" kern="1200" cap="none" spc="0" normalizeH="0" baseline="0" noProof="0" dirty="0" err="1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Penjaminan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en-US" sz="1500" b="1" i="0" u="none" strike="noStrike" kern="1200" cap="none" spc="0" normalizeH="0" baseline="0" noProof="0" dirty="0" err="1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mutu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en-US" sz="1500" b="1" i="0" u="none" strike="noStrike" kern="1200" cap="none" spc="0" normalizeH="0" baseline="0" noProof="0" dirty="0" err="1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asosiasi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en-US" sz="1500" b="1" i="0" u="none" strike="noStrike" kern="1200" cap="none" spc="0" normalizeH="0" baseline="0" noProof="0" dirty="0" err="1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terakreditasi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en-US" sz="1500" b="1" i="0" u="none" strike="noStrike" kern="1200" cap="none" spc="0" normalizeH="0" baseline="0" noProof="0" dirty="0" err="1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dilakukan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en-US" sz="1500" b="1" i="0" u="none" strike="noStrike" kern="1200" cap="none" spc="0" normalizeH="0" baseline="0" noProof="0" dirty="0" err="1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melalui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en-US" sz="1500" b="1" i="0" u="none" strike="noStrike" kern="1200" cap="none" spc="0" normalizeH="0" baseline="0" noProof="0" dirty="0" err="1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pemantauan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dan </a:t>
            </a:r>
            <a:r>
              <a:rPr kumimoji="0" lang="en-US" sz="1500" b="1" i="0" u="none" strike="noStrike" kern="1200" cap="none" spc="0" normalizeH="0" baseline="0" noProof="0" dirty="0" err="1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evaluasi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Poppins" panose="00000500000000000000" pitchFamily="2" charset="0"/>
              </a:rPr>
              <a:t> oleh LPJK.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BF3BE28-7EA6-754F-9D94-939780E7F38D}"/>
              </a:ext>
            </a:extLst>
          </p:cNvPr>
          <p:cNvSpPr/>
          <p:nvPr/>
        </p:nvSpPr>
        <p:spPr>
          <a:xfrm>
            <a:off x="1540328" y="3123080"/>
            <a:ext cx="2286000" cy="64237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pic>
        <p:nvPicPr>
          <p:cNvPr id="33" name="Picture 2" descr="95,501 Red Arrow Stock Photos, Pictures &amp; Royalty-Free Images - iStock">
            <a:extLst>
              <a:ext uri="{FF2B5EF4-FFF2-40B4-BE49-F238E27FC236}">
                <a16:creationId xmlns:a16="http://schemas.microsoft.com/office/drawing/2014/main" id="{6351A62D-BECE-EF48-87D1-724FE35520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658" b="89940" l="4902" r="92484">
                        <a14:foregroundMark x1="10131" y1="43058" x2="10131" y2="43058"/>
                        <a14:foregroundMark x1="5719" y1="40040" x2="5719" y2="40040"/>
                        <a14:foregroundMark x1="4902" y1="38833" x2="4902" y2="38833"/>
                        <a14:foregroundMark x1="92484" y1="39638" x2="92484" y2="39638"/>
                        <a14:foregroundMark x1="74346" y1="36821" x2="74346" y2="36821"/>
                        <a14:foregroundMark x1="87418" y1="57143" x2="87418" y2="5714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923618">
            <a:off x="85282" y="3541495"/>
            <a:ext cx="2389385" cy="1940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lgo sigap.png">
            <a:extLst>
              <a:ext uri="{FF2B5EF4-FFF2-40B4-BE49-F238E27FC236}">
                <a16:creationId xmlns:a16="http://schemas.microsoft.com/office/drawing/2014/main" id="{8583B680-ACB5-C0C1-0F7D-96E5805C857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6" name="Round Same Side Corner Rectangle 1">
            <a:extLst>
              <a:ext uri="{FF2B5EF4-FFF2-40B4-BE49-F238E27FC236}">
                <a16:creationId xmlns:a16="http://schemas.microsoft.com/office/drawing/2014/main" id="{DD4682E3-1621-5DBA-5E07-4DB927DC7486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8A0EC2E-F7A2-949D-F5C4-6ADB72EB5CFC}"/>
              </a:ext>
            </a:extLst>
          </p:cNvPr>
          <p:cNvSpPr txBox="1">
            <a:spLocks/>
          </p:cNvSpPr>
          <p:nvPr/>
        </p:nvSpPr>
        <p:spPr>
          <a:xfrm>
            <a:off x="176914" y="169726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PEMBINAAN JASA KONSTRUKSI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30973E0-DB96-096B-6555-240B3957609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5680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60F44A-8667-9727-9535-96242F9F13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" name="Picture 191" descr="lgo sigap.png">
            <a:extLst>
              <a:ext uri="{FF2B5EF4-FFF2-40B4-BE49-F238E27FC236}">
                <a16:creationId xmlns:a16="http://schemas.microsoft.com/office/drawing/2014/main" id="{9F44043F-1BAA-A689-B6BC-21FA6B1DD3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196" name="Round Same Side Corner Rectangle 1">
            <a:extLst>
              <a:ext uri="{FF2B5EF4-FFF2-40B4-BE49-F238E27FC236}">
                <a16:creationId xmlns:a16="http://schemas.microsoft.com/office/drawing/2014/main" id="{7A5111B2-20D4-35DA-3681-04A67C3F078F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7" name="Title 1">
            <a:extLst>
              <a:ext uri="{FF2B5EF4-FFF2-40B4-BE49-F238E27FC236}">
                <a16:creationId xmlns:a16="http://schemas.microsoft.com/office/drawing/2014/main" id="{BC491239-F948-E803-16A0-DB1E52C2E398}"/>
              </a:ext>
            </a:extLst>
          </p:cNvPr>
          <p:cNvSpPr txBox="1">
            <a:spLocks/>
          </p:cNvSpPr>
          <p:nvPr/>
        </p:nvSpPr>
        <p:spPr>
          <a:xfrm>
            <a:off x="176914" y="169726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600" b="1" dirty="0">
                <a:solidFill>
                  <a:prstClr val="black"/>
                </a:solidFill>
                <a:latin typeface="Segoe UI"/>
              </a:rPr>
              <a:t>KETERKAITAN ANTARA ASOSIASI, LSBU, </a:t>
            </a:r>
            <a:r>
              <a:rPr lang="fi-FI" sz="2600" b="1" dirty="0" err="1">
                <a:solidFill>
                  <a:prstClr val="black"/>
                </a:solidFill>
                <a:latin typeface="Segoe UI"/>
              </a:rPr>
              <a:t>dan</a:t>
            </a:r>
            <a:r>
              <a:rPr lang="fi-FI" sz="2600" b="1" dirty="0">
                <a:solidFill>
                  <a:prstClr val="black"/>
                </a:solidFill>
                <a:latin typeface="Segoe UI"/>
              </a:rPr>
              <a:t> SERTIFIKASI</a:t>
            </a:r>
          </a:p>
          <a:p>
            <a:pPr>
              <a:lnSpc>
                <a:spcPct val="100000"/>
              </a:lnSpc>
              <a:defRPr/>
            </a:pPr>
            <a:endParaRPr lang="fi-FI" sz="2600" b="1" dirty="0">
              <a:solidFill>
                <a:prstClr val="black"/>
              </a:solidFill>
              <a:latin typeface="Segoe UI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C40007-82C7-1D18-6D68-F593F2B0FC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EC46E580-C410-2DC9-1B7E-9C5C382CF840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5C593DF1-80C9-DC3F-8025-473D127667F5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D6FE818-D4DB-207F-44D5-34FDB2346A3E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A246D09B-E78E-A547-EBBD-30C515F0E936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9C83645-F521-1267-0A3B-F215BA95ED1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704D0DF9-DBEF-35F0-9A1C-00B5BF302C8C}"/>
              </a:ext>
            </a:extLst>
          </p:cNvPr>
          <p:cNvSpPr/>
          <p:nvPr/>
        </p:nvSpPr>
        <p:spPr>
          <a:xfrm>
            <a:off x="735528" y="924443"/>
            <a:ext cx="5691391" cy="2792534"/>
          </a:xfrm>
          <a:prstGeom prst="roundRect">
            <a:avLst>
              <a:gd name="adj" fmla="val 20127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2" name="object 36">
            <a:extLst>
              <a:ext uri="{FF2B5EF4-FFF2-40B4-BE49-F238E27FC236}">
                <a16:creationId xmlns:a16="http://schemas.microsoft.com/office/drawing/2014/main" id="{ED940265-2024-063B-80C6-67EE99EC6B27}"/>
              </a:ext>
            </a:extLst>
          </p:cNvPr>
          <p:cNvSpPr txBox="1"/>
          <p:nvPr/>
        </p:nvSpPr>
        <p:spPr>
          <a:xfrm>
            <a:off x="2334507" y="990323"/>
            <a:ext cx="2468880" cy="255711"/>
          </a:xfrm>
          <a:prstGeom prst="rect">
            <a:avLst/>
          </a:prstGeom>
        </p:spPr>
        <p:txBody>
          <a:bodyPr vert="horz" wrap="square" lIns="0" tIns="21590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95300"/>
              </a:lnSpc>
              <a:spcBef>
                <a:spcPts val="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-25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OSIASI</a:t>
            </a:r>
            <a:endParaRPr kumimoji="0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6D5F307-7FCC-5CB3-9DDE-5317656754DD}"/>
              </a:ext>
            </a:extLst>
          </p:cNvPr>
          <p:cNvSpPr/>
          <p:nvPr/>
        </p:nvSpPr>
        <p:spPr>
          <a:xfrm>
            <a:off x="917693" y="1287776"/>
            <a:ext cx="5327055" cy="932457"/>
          </a:xfrm>
          <a:prstGeom prst="roundRect">
            <a:avLst>
              <a:gd name="adj" fmla="val 20127"/>
            </a:avLst>
          </a:prstGeom>
          <a:solidFill>
            <a:schemeClr val="bg1"/>
          </a:soli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1E3266"/>
              </a:solidFill>
              <a:effectLst/>
              <a:uLnTx/>
              <a:uFillTx/>
              <a:latin typeface="Montserrat" pitchFamily="2" charset="77"/>
            </a:endParaRPr>
          </a:p>
        </p:txBody>
      </p:sp>
      <p:sp>
        <p:nvSpPr>
          <p:cNvPr id="14" name="TextBox 4">
            <a:extLst>
              <a:ext uri="{FF2B5EF4-FFF2-40B4-BE49-F238E27FC236}">
                <a16:creationId xmlns:a16="http://schemas.microsoft.com/office/drawing/2014/main" id="{FE8A30B7-1EE6-ECFC-8543-A735935E2A7E}"/>
              </a:ext>
            </a:extLst>
          </p:cNvPr>
          <p:cNvSpPr txBox="1"/>
          <p:nvPr/>
        </p:nvSpPr>
        <p:spPr>
          <a:xfrm>
            <a:off x="979795" y="1427302"/>
            <a:ext cx="5178305" cy="60016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lvl="0" algn="ctr">
              <a:defRPr/>
            </a:pPr>
            <a:r>
              <a:rPr lang="en-US" sz="1300" b="1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rganisasi</a:t>
            </a:r>
            <a:r>
              <a:rPr lang="en-US" sz="1300" b="1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an/</a:t>
            </a:r>
            <a:r>
              <a:rPr lang="en-US" sz="1300" b="1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tau</a:t>
            </a:r>
            <a:r>
              <a:rPr lang="en-US" sz="1300" b="1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300" b="1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impunan</a:t>
            </a:r>
            <a:r>
              <a:rPr lang="en-US" sz="1300" b="1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badan </a:t>
            </a:r>
            <a:r>
              <a:rPr lang="en-US" sz="1300" b="1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aha</a:t>
            </a:r>
            <a:r>
              <a:rPr lang="en-US" sz="1300" b="1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300" b="1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fesional</a:t>
            </a:r>
            <a:r>
              <a:rPr lang="en-US" sz="1300" b="1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300" b="1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lam</a:t>
            </a:r>
            <a:r>
              <a:rPr lang="en-US" sz="1300" b="1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300" b="1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uatu</a:t>
            </a:r>
            <a:r>
              <a:rPr lang="en-US" sz="1300" b="1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300" b="1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dang</a:t>
            </a:r>
            <a:r>
              <a:rPr lang="en-US" sz="1300" b="1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300" b="1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ilmuan</a:t>
            </a:r>
            <a:r>
              <a:rPr lang="en-US" sz="1300" b="1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300" b="1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rtentu</a:t>
            </a:r>
            <a:r>
              <a:rPr lang="en-US" sz="1300" b="1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i </a:t>
            </a:r>
            <a:r>
              <a:rPr lang="en-US" sz="1300" b="1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dang</a:t>
            </a:r>
            <a:r>
              <a:rPr lang="en-US" sz="1300" b="1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Jasa </a:t>
            </a:r>
            <a:r>
              <a:rPr lang="en-US" sz="1300" b="1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r>
              <a:rPr lang="en-US" sz="1300" b="1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1300" b="1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rbadan</a:t>
            </a:r>
            <a:r>
              <a:rPr lang="en-US" sz="1300" b="1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300" b="1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ukum</a:t>
            </a:r>
            <a:r>
              <a:rPr lang="en-US" sz="1300" b="1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EE3B465F-3D68-E40B-BA35-ED36BE584CB5}"/>
              </a:ext>
            </a:extLst>
          </p:cNvPr>
          <p:cNvSpPr/>
          <p:nvPr/>
        </p:nvSpPr>
        <p:spPr>
          <a:xfrm>
            <a:off x="917694" y="2496542"/>
            <a:ext cx="5327055" cy="1067011"/>
          </a:xfrm>
          <a:prstGeom prst="roundRect">
            <a:avLst>
              <a:gd name="adj" fmla="val 20127"/>
            </a:avLst>
          </a:prstGeom>
          <a:solidFill>
            <a:schemeClr val="bg1"/>
          </a:soli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1E3266"/>
              </a:solidFill>
              <a:effectLst/>
              <a:uLnTx/>
              <a:uFillTx/>
              <a:latin typeface="Montserrat" pitchFamily="2" charset="77"/>
            </a:endParaRPr>
          </a:p>
        </p:txBody>
      </p:sp>
      <p:sp>
        <p:nvSpPr>
          <p:cNvPr id="16" name="Down Arrow 15">
            <a:extLst>
              <a:ext uri="{FF2B5EF4-FFF2-40B4-BE49-F238E27FC236}">
                <a16:creationId xmlns:a16="http://schemas.microsoft.com/office/drawing/2014/main" id="{744B9418-1774-E719-5A14-8F1F3AB14E1F}"/>
              </a:ext>
            </a:extLst>
          </p:cNvPr>
          <p:cNvSpPr/>
          <p:nvPr/>
        </p:nvSpPr>
        <p:spPr>
          <a:xfrm>
            <a:off x="3391215" y="2170109"/>
            <a:ext cx="380010" cy="342857"/>
          </a:xfrm>
          <a:prstGeom prst="downArrow">
            <a:avLst/>
          </a:prstGeom>
          <a:solidFill>
            <a:srgbClr val="174A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4">
            <a:extLst>
              <a:ext uri="{FF2B5EF4-FFF2-40B4-BE49-F238E27FC236}">
                <a16:creationId xmlns:a16="http://schemas.microsoft.com/office/drawing/2014/main" id="{1606ADB6-2424-1427-86D5-2B5B8003E358}"/>
              </a:ext>
            </a:extLst>
          </p:cNvPr>
          <p:cNvSpPr txBox="1"/>
          <p:nvPr/>
        </p:nvSpPr>
        <p:spPr>
          <a:xfrm>
            <a:off x="992067" y="2556809"/>
            <a:ext cx="5178305" cy="86177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lvl="0" algn="ctr">
              <a:defRPr/>
            </a:pPr>
            <a:r>
              <a:rPr lang="en-US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an </a:t>
            </a:r>
            <a:r>
              <a:rPr lang="en-US" sz="1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osiasi</a:t>
            </a:r>
            <a:r>
              <a:rPr lang="en-US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pPr lvl="0" algn="ctr">
              <a:defRPr/>
            </a:pPr>
            <a:r>
              <a:rPr lang="en-US" sz="1400" b="1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rtanggung</a:t>
            </a:r>
            <a:r>
              <a:rPr lang="en-US" sz="1400" b="1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b="1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awab</a:t>
            </a:r>
            <a:r>
              <a:rPr lang="en-US" sz="1400" b="1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b="1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tas</a:t>
            </a:r>
            <a:r>
              <a:rPr lang="en-US" sz="1400" b="1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b="1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mbinaan</a:t>
            </a:r>
            <a:r>
              <a:rPr lang="en-US" sz="1400" b="1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an </a:t>
            </a:r>
            <a:r>
              <a:rPr lang="en-US" sz="1400" b="1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ngembangan</a:t>
            </a:r>
            <a:r>
              <a:rPr lang="en-US" sz="1400" b="1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badan </a:t>
            </a:r>
            <a:r>
              <a:rPr lang="en-US" sz="1400" b="1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aha</a:t>
            </a:r>
            <a:r>
              <a:rPr lang="en-US" sz="1400" b="1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b="1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lalui</a:t>
            </a:r>
            <a:r>
              <a:rPr lang="en-US" sz="1400" b="1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b="1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ngembangan</a:t>
            </a:r>
            <a:r>
              <a:rPr lang="en-US" sz="1400" b="1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Usaha </a:t>
            </a:r>
            <a:r>
              <a:rPr lang="en-US" sz="1400" b="1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rkelanjutan</a:t>
            </a:r>
            <a:r>
              <a:rPr lang="en-US" sz="1400" b="1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PUB).</a:t>
            </a:r>
          </a:p>
        </p:txBody>
      </p:sp>
      <p:sp>
        <p:nvSpPr>
          <p:cNvPr id="18" name="object 36">
            <a:extLst>
              <a:ext uri="{FF2B5EF4-FFF2-40B4-BE49-F238E27FC236}">
                <a16:creationId xmlns:a16="http://schemas.microsoft.com/office/drawing/2014/main" id="{DAE253A2-0E04-5B09-752A-08D0DAF60D98}"/>
              </a:ext>
            </a:extLst>
          </p:cNvPr>
          <p:cNvSpPr txBox="1"/>
          <p:nvPr/>
        </p:nvSpPr>
        <p:spPr>
          <a:xfrm>
            <a:off x="1889057" y="4009710"/>
            <a:ext cx="3156270" cy="284950"/>
          </a:xfrm>
          <a:prstGeom prst="rect">
            <a:avLst/>
          </a:prstGeom>
        </p:spPr>
        <p:txBody>
          <a:bodyPr vert="horz" wrap="square" lIns="0" tIns="21590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95300"/>
              </a:lnSpc>
              <a:spcBef>
                <a:spcPts val="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-25" normalizeH="0" baseline="0" noProof="0" dirty="0">
                <a:ln>
                  <a:noFill/>
                </a:ln>
                <a:solidFill>
                  <a:srgbClr val="1E3266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OSIASI TERAKREDITASI</a:t>
            </a:r>
            <a:endParaRPr kumimoji="0" b="1" i="0" u="none" strike="noStrike" kern="1200" cap="none" spc="0" normalizeH="0" baseline="0" noProof="0" dirty="0">
              <a:ln>
                <a:noFill/>
              </a:ln>
              <a:solidFill>
                <a:srgbClr val="1E3266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Down Arrow 18">
            <a:extLst>
              <a:ext uri="{FF2B5EF4-FFF2-40B4-BE49-F238E27FC236}">
                <a16:creationId xmlns:a16="http://schemas.microsoft.com/office/drawing/2014/main" id="{49487262-0E70-BCE5-B056-C300C5A5E2B1}"/>
              </a:ext>
            </a:extLst>
          </p:cNvPr>
          <p:cNvSpPr/>
          <p:nvPr/>
        </p:nvSpPr>
        <p:spPr>
          <a:xfrm>
            <a:off x="3378942" y="3533879"/>
            <a:ext cx="380010" cy="342857"/>
          </a:xfrm>
          <a:prstGeom prst="downArrow">
            <a:avLst/>
          </a:prstGeom>
          <a:solidFill>
            <a:srgbClr val="174A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3E572E9E-F22F-3F5F-A4AE-90636BFDE1D1}"/>
              </a:ext>
            </a:extLst>
          </p:cNvPr>
          <p:cNvSpPr/>
          <p:nvPr/>
        </p:nvSpPr>
        <p:spPr>
          <a:xfrm>
            <a:off x="7450089" y="1263765"/>
            <a:ext cx="3828310" cy="1284934"/>
          </a:xfrm>
          <a:prstGeom prst="roundRect">
            <a:avLst>
              <a:gd name="adj" fmla="val 20127"/>
            </a:avLst>
          </a:prstGeom>
          <a:solidFill>
            <a:srgbClr val="174A90"/>
          </a:soli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DA1B4F87-552B-485B-CBD7-D055B23DAC48}"/>
              </a:ext>
            </a:extLst>
          </p:cNvPr>
          <p:cNvSpPr/>
          <p:nvPr/>
        </p:nvSpPr>
        <p:spPr>
          <a:xfrm>
            <a:off x="7768959" y="1655114"/>
            <a:ext cx="3090323" cy="557599"/>
          </a:xfrm>
          <a:prstGeom prst="roundRect">
            <a:avLst>
              <a:gd name="adj" fmla="val 20127"/>
            </a:avLst>
          </a:prstGeom>
          <a:solidFill>
            <a:schemeClr val="bg1"/>
          </a:soli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SBU</a:t>
            </a:r>
          </a:p>
        </p:txBody>
      </p:sp>
      <p:sp>
        <p:nvSpPr>
          <p:cNvPr id="23" name="Down Arrow 22">
            <a:extLst>
              <a:ext uri="{FF2B5EF4-FFF2-40B4-BE49-F238E27FC236}">
                <a16:creationId xmlns:a16="http://schemas.microsoft.com/office/drawing/2014/main" id="{5BF6F089-5C26-96AD-39F4-2627F9391F03}"/>
              </a:ext>
            </a:extLst>
          </p:cNvPr>
          <p:cNvSpPr/>
          <p:nvPr/>
        </p:nvSpPr>
        <p:spPr>
          <a:xfrm>
            <a:off x="9161508" y="2466228"/>
            <a:ext cx="380010" cy="342857"/>
          </a:xfrm>
          <a:prstGeom prst="downArrow">
            <a:avLst/>
          </a:prstGeom>
          <a:solidFill>
            <a:srgbClr val="174A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1096F0BD-EC5A-28D9-C7F8-494189561DA5}"/>
              </a:ext>
            </a:extLst>
          </p:cNvPr>
          <p:cNvSpPr/>
          <p:nvPr/>
        </p:nvSpPr>
        <p:spPr>
          <a:xfrm>
            <a:off x="7479038" y="2873996"/>
            <a:ext cx="3828310" cy="440374"/>
          </a:xfrm>
          <a:prstGeom prst="roundRect">
            <a:avLst>
              <a:gd name="adj" fmla="val 20127"/>
            </a:avLst>
          </a:prstGeom>
          <a:solidFill>
            <a:srgbClr val="FFC000"/>
          </a:soli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7B1B536A-B906-EDEC-0668-E68285339DB4}"/>
              </a:ext>
            </a:extLst>
          </p:cNvPr>
          <p:cNvSpPr/>
          <p:nvPr/>
        </p:nvSpPr>
        <p:spPr>
          <a:xfrm>
            <a:off x="7539854" y="3611687"/>
            <a:ext cx="3891738" cy="2101174"/>
          </a:xfrm>
          <a:prstGeom prst="roundRect">
            <a:avLst>
              <a:gd name="adj" fmla="val 20127"/>
            </a:avLst>
          </a:prstGeom>
          <a:solidFill>
            <a:srgbClr val="FFC000"/>
          </a:solidFill>
          <a:ln>
            <a:noFill/>
          </a:ln>
          <a:effectLst>
            <a:outerShdw blurRad="241300" dist="88900" dir="10800000" algn="r" rotWithShape="0">
              <a:schemeClr val="tx1"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cxnSp>
        <p:nvCxnSpPr>
          <p:cNvPr id="26" name="Elbow Connector 25">
            <a:extLst>
              <a:ext uri="{FF2B5EF4-FFF2-40B4-BE49-F238E27FC236}">
                <a16:creationId xmlns:a16="http://schemas.microsoft.com/office/drawing/2014/main" id="{223BB8C7-695B-2652-609A-97441A3E1A9F}"/>
              </a:ext>
            </a:extLst>
          </p:cNvPr>
          <p:cNvCxnSpPr>
            <a:cxnSpLocks/>
            <a:stCxn id="18" idx="3"/>
            <a:endCxn id="20" idx="1"/>
          </p:cNvCxnSpPr>
          <p:nvPr/>
        </p:nvCxnSpPr>
        <p:spPr>
          <a:xfrm flipV="1">
            <a:off x="5045327" y="1906232"/>
            <a:ext cx="2404762" cy="2245953"/>
          </a:xfrm>
          <a:prstGeom prst="bentConnector3">
            <a:avLst>
              <a:gd name="adj1" fmla="val 69012"/>
            </a:avLst>
          </a:prstGeom>
          <a:ln w="38100">
            <a:solidFill>
              <a:srgbClr val="1E32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4">
            <a:extLst>
              <a:ext uri="{FF2B5EF4-FFF2-40B4-BE49-F238E27FC236}">
                <a16:creationId xmlns:a16="http://schemas.microsoft.com/office/drawing/2014/main" id="{A9605AC7-92A1-1138-BF50-8D78847103D3}"/>
              </a:ext>
            </a:extLst>
          </p:cNvPr>
          <p:cNvSpPr txBox="1"/>
          <p:nvPr/>
        </p:nvSpPr>
        <p:spPr>
          <a:xfrm>
            <a:off x="7705012" y="3860936"/>
            <a:ext cx="3675883" cy="13542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lvl="0" algn="ctr">
              <a:defRPr/>
            </a:pPr>
            <a:r>
              <a:rPr lang="en-US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GI BUJK: </a:t>
            </a:r>
          </a:p>
          <a:p>
            <a:pPr lvl="0" algn="ctr">
              <a:defRPr/>
            </a:pPr>
            <a:endParaRPr lang="en-US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28600" lvl="0" indent="-228600">
              <a:buFont typeface="+mj-lt"/>
              <a:buAutoNum type="arabicPeriod"/>
              <a:defRPr/>
            </a:pPr>
            <a:r>
              <a:rPr lang="en-US" sz="15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bagai</a:t>
            </a:r>
            <a:r>
              <a:rPr lang="en-US" sz="15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kti</a:t>
            </a:r>
            <a:r>
              <a:rPr lang="en-US" sz="15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mpetensi</a:t>
            </a:r>
            <a:r>
              <a:rPr lang="en-US" sz="15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BUJK;</a:t>
            </a:r>
          </a:p>
          <a:p>
            <a:pPr marL="228600" lvl="0" indent="-228600">
              <a:buFont typeface="+mj-lt"/>
              <a:buAutoNum type="arabicPeriod"/>
              <a:defRPr/>
            </a:pPr>
            <a:r>
              <a:rPr lang="en-US" sz="15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bagai</a:t>
            </a:r>
            <a:r>
              <a:rPr lang="en-US" sz="15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syaratan</a:t>
            </a:r>
            <a:r>
              <a:rPr lang="en-US" sz="15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zin</a:t>
            </a:r>
            <a:r>
              <a:rPr lang="en-US" sz="15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aha</a:t>
            </a:r>
            <a:r>
              <a:rPr lang="en-US" sz="15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pPr marL="228600" lvl="0" indent="-228600">
              <a:buFont typeface="+mj-lt"/>
              <a:buAutoNum type="arabicPeriod"/>
              <a:defRPr/>
            </a:pPr>
            <a:r>
              <a:rPr lang="en-US" sz="15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syaratan</a:t>
            </a:r>
            <a:r>
              <a:rPr lang="en-US" sz="15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ngikuti</a:t>
            </a:r>
            <a:r>
              <a:rPr lang="en-US" sz="15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tender/</a:t>
            </a:r>
            <a:r>
              <a:rPr lang="en-US" sz="15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lelangan</a:t>
            </a:r>
            <a:r>
              <a:rPr lang="en-US" sz="15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cxnSp>
        <p:nvCxnSpPr>
          <p:cNvPr id="28" name="Elbow Connector 27">
            <a:extLst>
              <a:ext uri="{FF2B5EF4-FFF2-40B4-BE49-F238E27FC236}">
                <a16:creationId xmlns:a16="http://schemas.microsoft.com/office/drawing/2014/main" id="{2EF5F0B4-B980-2BCE-EC0C-61CAD017C683}"/>
              </a:ext>
            </a:extLst>
          </p:cNvPr>
          <p:cNvCxnSpPr>
            <a:cxnSpLocks/>
            <a:endCxn id="29" idx="3"/>
          </p:cNvCxnSpPr>
          <p:nvPr/>
        </p:nvCxnSpPr>
        <p:spPr>
          <a:xfrm rot="10800000" flipV="1">
            <a:off x="5511524" y="4662270"/>
            <a:ext cx="2028333" cy="705749"/>
          </a:xfrm>
          <a:prstGeom prst="bentConnector3">
            <a:avLst>
              <a:gd name="adj1" fmla="val 50000"/>
            </a:avLst>
          </a:prstGeom>
          <a:ln w="38100">
            <a:solidFill>
              <a:srgbClr val="1E32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947BF08A-6391-BF1A-2B07-80C8E5D6D02D}"/>
              </a:ext>
            </a:extLst>
          </p:cNvPr>
          <p:cNvSpPr/>
          <p:nvPr/>
        </p:nvSpPr>
        <p:spPr>
          <a:xfrm>
            <a:off x="2135440" y="4734219"/>
            <a:ext cx="3376083" cy="1267602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 dirty="0" err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ningkatkan</a:t>
            </a:r>
            <a:r>
              <a:rPr lang="en-US" sz="1600" b="1" i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600" b="1" i="1" dirty="0" err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mpetensi</a:t>
            </a:r>
            <a:r>
              <a:rPr lang="en-US" sz="1600" b="1" i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1600" b="1" i="1" dirty="0" err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ualitas</a:t>
            </a:r>
            <a:r>
              <a:rPr lang="en-US" sz="1600" b="1" i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dan </a:t>
            </a:r>
            <a:r>
              <a:rPr lang="en-US" sz="1600" b="1" i="1" dirty="0" err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uantitas</a:t>
            </a:r>
            <a:r>
              <a:rPr lang="en-US" sz="1600" b="1" i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DM/Badan Usaha</a:t>
            </a:r>
          </a:p>
        </p:txBody>
      </p:sp>
      <p:sp>
        <p:nvSpPr>
          <p:cNvPr id="30" name="TextBox 4">
            <a:extLst>
              <a:ext uri="{FF2B5EF4-FFF2-40B4-BE49-F238E27FC236}">
                <a16:creationId xmlns:a16="http://schemas.microsoft.com/office/drawing/2014/main" id="{B1FFE4BF-5209-CA5A-0E00-A463ABA2559B}"/>
              </a:ext>
            </a:extLst>
          </p:cNvPr>
          <p:cNvSpPr txBox="1"/>
          <p:nvPr/>
        </p:nvSpPr>
        <p:spPr>
          <a:xfrm>
            <a:off x="6747546" y="1408399"/>
            <a:ext cx="5178305" cy="1846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lvl="0" algn="ctr">
              <a:defRPr/>
            </a:pPr>
            <a:r>
              <a:rPr lang="en-US" sz="12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PAT MEMBENTUK</a:t>
            </a:r>
          </a:p>
        </p:txBody>
      </p:sp>
      <p:sp>
        <p:nvSpPr>
          <p:cNvPr id="31" name="TextBox 4">
            <a:extLst>
              <a:ext uri="{FF2B5EF4-FFF2-40B4-BE49-F238E27FC236}">
                <a16:creationId xmlns:a16="http://schemas.microsoft.com/office/drawing/2014/main" id="{E9CAE443-3287-A858-2F71-5EC5E34F9C53}"/>
              </a:ext>
            </a:extLst>
          </p:cNvPr>
          <p:cNvSpPr txBox="1"/>
          <p:nvPr/>
        </p:nvSpPr>
        <p:spPr>
          <a:xfrm>
            <a:off x="6724968" y="2967817"/>
            <a:ext cx="5178305" cy="215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lvl="0" algn="ctr">
              <a:defRPr/>
            </a:pPr>
            <a:r>
              <a:rPr lang="en-US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NYELENGGARAKAN SERTIFIKASI</a:t>
            </a:r>
          </a:p>
        </p:txBody>
      </p:sp>
    </p:spTree>
    <p:extLst>
      <p:ext uri="{BB962C8B-B14F-4D97-AF65-F5344CB8AC3E}">
        <p14:creationId xmlns:p14="http://schemas.microsoft.com/office/powerpoint/2010/main" val="31836403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60F44A-8667-9727-9535-96242F9F13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Top Corners Rounded 11">
            <a:extLst>
              <a:ext uri="{FF2B5EF4-FFF2-40B4-BE49-F238E27FC236}">
                <a16:creationId xmlns:a16="http://schemas.microsoft.com/office/drawing/2014/main" id="{8F3A79A1-37B2-1A05-D58E-EFB3E7238A7D}"/>
              </a:ext>
            </a:extLst>
          </p:cNvPr>
          <p:cNvSpPr/>
          <p:nvPr/>
        </p:nvSpPr>
        <p:spPr>
          <a:xfrm rot="16200000">
            <a:off x="7623769" y="1641258"/>
            <a:ext cx="3306722" cy="5860229"/>
          </a:xfrm>
          <a:prstGeom prst="round2SameRect">
            <a:avLst>
              <a:gd name="adj1" fmla="val 21012"/>
              <a:gd name="adj2" fmla="val 0"/>
            </a:avLst>
          </a:prstGeom>
          <a:solidFill>
            <a:srgbClr val="FFC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-4572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1C3367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132246A8-46CC-4D03-E5F3-5D8090F5606E}"/>
              </a:ext>
            </a:extLst>
          </p:cNvPr>
          <p:cNvSpPr/>
          <p:nvPr/>
        </p:nvSpPr>
        <p:spPr>
          <a:xfrm rot="5400000">
            <a:off x="1389132" y="229653"/>
            <a:ext cx="3818965" cy="6586957"/>
          </a:xfrm>
          <a:prstGeom prst="round2SameRect">
            <a:avLst>
              <a:gd name="adj1" fmla="val 21012"/>
              <a:gd name="adj2" fmla="val 0"/>
            </a:avLst>
          </a:prstGeom>
          <a:solidFill>
            <a:srgbClr val="174A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-4572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srgbClr val="1C3367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</a:endParaRPr>
          </a:p>
        </p:txBody>
      </p:sp>
      <p:pic>
        <p:nvPicPr>
          <p:cNvPr id="192" name="Picture 191" descr="lgo sigap.png">
            <a:extLst>
              <a:ext uri="{FF2B5EF4-FFF2-40B4-BE49-F238E27FC236}">
                <a16:creationId xmlns:a16="http://schemas.microsoft.com/office/drawing/2014/main" id="{9F44043F-1BAA-A689-B6BC-21FA6B1DD3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196" name="Round Same Side Corner Rectangle 1">
            <a:extLst>
              <a:ext uri="{FF2B5EF4-FFF2-40B4-BE49-F238E27FC236}">
                <a16:creationId xmlns:a16="http://schemas.microsoft.com/office/drawing/2014/main" id="{7A5111B2-20D4-35DA-3681-04A67C3F078F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7" name="Title 1">
            <a:extLst>
              <a:ext uri="{FF2B5EF4-FFF2-40B4-BE49-F238E27FC236}">
                <a16:creationId xmlns:a16="http://schemas.microsoft.com/office/drawing/2014/main" id="{BC491239-F948-E803-16A0-DB1E52C2E398}"/>
              </a:ext>
            </a:extLst>
          </p:cNvPr>
          <p:cNvSpPr txBox="1">
            <a:spLocks/>
          </p:cNvSpPr>
          <p:nvPr/>
        </p:nvSpPr>
        <p:spPr>
          <a:xfrm>
            <a:off x="176914" y="169726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800" b="1" dirty="0">
                <a:solidFill>
                  <a:prstClr val="black"/>
                </a:solidFill>
                <a:latin typeface="Segoe UI"/>
              </a:rPr>
              <a:t>PERAN ASOSIASI DALAM</a:t>
            </a:r>
          </a:p>
          <a:p>
            <a:pPr>
              <a:lnSpc>
                <a:spcPct val="100000"/>
              </a:lnSpc>
              <a:defRPr/>
            </a:pPr>
            <a:r>
              <a:rPr lang="fi-FI" sz="2800" b="1" dirty="0">
                <a:solidFill>
                  <a:prstClr val="black"/>
                </a:solidFill>
                <a:latin typeface="Segoe UI"/>
              </a:rPr>
              <a:t>PEMBINAAN JASA KONSTRUKSI</a:t>
            </a:r>
          </a:p>
          <a:p>
            <a:pPr>
              <a:lnSpc>
                <a:spcPct val="100000"/>
              </a:lnSpc>
              <a:defRPr/>
            </a:pPr>
            <a:endParaRPr lang="fi-FI" sz="2800" b="1" dirty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9566BF3-DFB9-726B-297E-ED0817A8CD3B}"/>
              </a:ext>
            </a:extLst>
          </p:cNvPr>
          <p:cNvSpPr txBox="1"/>
          <p:nvPr/>
        </p:nvSpPr>
        <p:spPr>
          <a:xfrm>
            <a:off x="165709" y="2676675"/>
            <a:ext cx="6208198" cy="230832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ungs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mbinaan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lum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penuhnya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nyentuh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syarakat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asa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endParaRPr lang="en-US" dirty="0">
              <a:solidFill>
                <a:schemeClr val="bg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dan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aha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asa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sih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dominas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eneralis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mentara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badan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aha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pesialis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lum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rkembang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sih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dikitnya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naga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rja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rsertifikat</a:t>
            </a:r>
            <a:endParaRPr lang="en-US" dirty="0">
              <a:solidFill>
                <a:schemeClr val="bg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sih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nyak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nyedia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Jasa yang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lum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nggunakan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knolog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an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mponen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lam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negeri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C40007-82C7-1D18-6D68-F593F2B0FC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EC46E580-C410-2DC9-1B7E-9C5C382CF840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5C593DF1-80C9-DC3F-8025-473D127667F5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D6FE818-D4DB-207F-44D5-34FDB2346A3E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A246D09B-E78E-A547-EBBD-30C515F0E936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9C83645-F521-1267-0A3B-F215BA95ED1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A5240923-81DE-AC67-1D1D-B1FCFB621A03}"/>
              </a:ext>
            </a:extLst>
          </p:cNvPr>
          <p:cNvSpPr/>
          <p:nvPr/>
        </p:nvSpPr>
        <p:spPr>
          <a:xfrm flipH="1">
            <a:off x="203808" y="1892202"/>
            <a:ext cx="6586958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en-ID" sz="2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berapa</a:t>
            </a:r>
            <a:r>
              <a:rPr lang="en-ID" sz="2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2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masalahan</a:t>
            </a:r>
            <a:r>
              <a:rPr lang="en-ID" sz="2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2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asa</a:t>
            </a:r>
            <a:r>
              <a:rPr lang="en-ID" sz="2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2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r>
              <a:rPr lang="en-ID" sz="2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yang </a:t>
            </a:r>
            <a:r>
              <a:rPr lang="en-ID" sz="2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rjadi</a:t>
            </a:r>
            <a:r>
              <a:rPr lang="en-ID" sz="2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2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at</a:t>
            </a:r>
            <a:r>
              <a:rPr lang="en-ID" sz="2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2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i</a:t>
            </a:r>
            <a:r>
              <a:rPr lang="en-ID" sz="2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endParaRPr kumimoji="0" lang="en-ID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18A5708-7323-3B6B-5F23-EED2EC3DD1F9}"/>
              </a:ext>
            </a:extLst>
          </p:cNvPr>
          <p:cNvSpPr/>
          <p:nvPr/>
        </p:nvSpPr>
        <p:spPr>
          <a:xfrm flipH="1">
            <a:off x="6774137" y="3198834"/>
            <a:ext cx="5444713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en-ID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an </a:t>
            </a:r>
            <a:r>
              <a:rPr lang="en-ID" sz="20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osiasi</a:t>
            </a:r>
            <a:r>
              <a:rPr lang="en-ID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Badan Usaha </a:t>
            </a:r>
            <a:r>
              <a:rPr lang="en-ID" sz="20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lam</a:t>
            </a:r>
            <a:r>
              <a:rPr lang="en-ID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20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nyelesaikan</a:t>
            </a:r>
            <a:r>
              <a:rPr lang="en-ID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20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masalahan</a:t>
            </a:r>
            <a:r>
              <a:rPr lang="en-ID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20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asa</a:t>
            </a:r>
            <a:r>
              <a:rPr lang="en-ID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20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r>
              <a:rPr lang="en-ID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yang </a:t>
            </a:r>
            <a:r>
              <a:rPr lang="en-ID" sz="20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da</a:t>
            </a:r>
            <a:r>
              <a:rPr lang="en-ID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endParaRPr kumimoji="0" lang="en-ID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6791820-AB1C-8262-FF1D-9E51087F2545}"/>
              </a:ext>
            </a:extLst>
          </p:cNvPr>
          <p:cNvSpPr/>
          <p:nvPr/>
        </p:nvSpPr>
        <p:spPr>
          <a:xfrm flipH="1">
            <a:off x="6763872" y="4317262"/>
            <a:ext cx="5454978" cy="16619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342900" lvl="0" indent="-342900">
              <a:buFont typeface="+mj-lt"/>
              <a:buAutoNum type="arabicPeriod"/>
              <a:defRPr/>
            </a:pPr>
            <a:r>
              <a:rPr lang="en-ID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laksanakan</a:t>
            </a:r>
            <a:r>
              <a:rPr lang="en-ID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ngembangan</a:t>
            </a:r>
            <a:r>
              <a:rPr lang="en-ID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Usaha </a:t>
            </a:r>
            <a:r>
              <a:rPr lang="en-ID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rkelanjutan</a:t>
            </a:r>
            <a:endParaRPr lang="en-ID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lvl="0" indent="-342900">
              <a:buFont typeface="+mj-lt"/>
              <a:buAutoNum type="arabicPeriod"/>
              <a:defRPr/>
            </a:pPr>
            <a:r>
              <a:rPr lang="en-ID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ningkatkan</a:t>
            </a:r>
            <a:r>
              <a:rPr lang="en-ID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mampuan</a:t>
            </a:r>
            <a:r>
              <a:rPr lang="en-ID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Badan Usaha</a:t>
            </a:r>
          </a:p>
          <a:p>
            <a:pPr marL="342900" lvl="0" indent="-342900">
              <a:buFont typeface="+mj-lt"/>
              <a:buAutoNum type="arabicPeriod"/>
              <a:defRPr/>
            </a:pPr>
            <a:r>
              <a:rPr lang="en-ID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ningkatkan</a:t>
            </a:r>
            <a:r>
              <a:rPr lang="en-ID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mpetensi</a:t>
            </a:r>
            <a:r>
              <a:rPr lang="en-ID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Tenaga </a:t>
            </a:r>
            <a:r>
              <a:rPr lang="en-ID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rja</a:t>
            </a:r>
            <a:endParaRPr lang="en-ID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lvl="0" indent="-342900">
              <a:buFont typeface="+mj-lt"/>
              <a:buAutoNum type="arabicPeriod"/>
              <a:defRPr/>
            </a:pPr>
            <a:r>
              <a:rPr lang="en-ID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lindungi</a:t>
            </a:r>
            <a:r>
              <a:rPr lang="en-ID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pentingan</a:t>
            </a:r>
            <a:r>
              <a:rPr lang="en-ID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gggota</a:t>
            </a:r>
            <a:endParaRPr lang="en-ID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lvl="0" indent="-342900">
              <a:buFont typeface="+mj-lt"/>
              <a:buAutoNum type="arabicPeriod"/>
              <a:defRPr/>
            </a:pPr>
            <a:r>
              <a:rPr lang="en-ID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mbentuk</a:t>
            </a:r>
            <a:r>
              <a:rPr lang="en-ID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LSBU </a:t>
            </a:r>
            <a:r>
              <a:rPr lang="en-ID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tuk</a:t>
            </a:r>
            <a:r>
              <a:rPr lang="en-ID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timalisasi</a:t>
            </a:r>
            <a:r>
              <a:rPr lang="en-ID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rtifikasi</a:t>
            </a:r>
            <a:endParaRPr kumimoji="0" lang="en-ID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17732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5DE316F-5244-5278-54A7-E634FED3F40E}"/>
              </a:ext>
            </a:extLst>
          </p:cNvPr>
          <p:cNvSpPr txBox="1"/>
          <p:nvPr/>
        </p:nvSpPr>
        <p:spPr>
          <a:xfrm>
            <a:off x="482396" y="1989115"/>
            <a:ext cx="5547357" cy="4699159"/>
          </a:xfrm>
          <a:prstGeom prst="roundRect">
            <a:avLst/>
          </a:prstGeom>
          <a:solidFill>
            <a:srgbClr val="174A90"/>
          </a:solidFill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Menyusun dan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menegakk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kode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etik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bagi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anggotanya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;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Melakuk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pengembang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usaha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berkelanjut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bagi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anggota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asosiasi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badan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usaha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dan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asosiasi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terkait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rantai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pasok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;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Melakuk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pengembang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keprofesi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berkelanjut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bagi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anggota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asosiasi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profesi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;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Melakuk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pemberdaya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kepada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anggotanya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;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Menyampaik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lapor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kinerja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tahun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asosiasi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untuk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periode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1 (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satu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)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januari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sampai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deng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31 (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tiga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puluh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satu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)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desember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;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Menyampaik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lapor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keuang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asosiasi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yang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telah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diaudit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kantor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akunt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publik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yang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memiliki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izi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sesuai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deng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ketentu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peratur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perundang-undang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untuk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periode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1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januari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sampai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deng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31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desember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; dan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Melaksanak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kewajib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lainnya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sesuai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deng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ketentu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peratur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perundang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-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undang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0849D2E-8A81-5526-6E47-AB0B20F05A0C}"/>
              </a:ext>
            </a:extLst>
          </p:cNvPr>
          <p:cNvSpPr txBox="1"/>
          <p:nvPr/>
        </p:nvSpPr>
        <p:spPr>
          <a:xfrm>
            <a:off x="6435639" y="2007955"/>
            <a:ext cx="5334001" cy="3677603"/>
          </a:xfrm>
          <a:prstGeom prst="roundRect">
            <a:avLst/>
          </a:prstGeom>
          <a:solidFill>
            <a:srgbClr val="FFC100"/>
          </a:solidFill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500" dirty="0" err="1">
                <a:latin typeface="DM Sans" pitchFamily="2" charset="77"/>
              </a:rPr>
              <a:t>Melaporkan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kegiatan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usaha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tahunan</a:t>
            </a:r>
            <a:r>
              <a:rPr lang="en-US" sz="1500" dirty="0">
                <a:latin typeface="DM Sans" pitchFamily="2" charset="77"/>
              </a:rPr>
              <a:t>;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500" dirty="0" err="1">
                <a:latin typeface="DM Sans" pitchFamily="2" charset="77"/>
              </a:rPr>
              <a:t>Melakukan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pencatatan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pengalaman</a:t>
            </a:r>
            <a:r>
              <a:rPr lang="en-US" sz="1500" dirty="0">
                <a:latin typeface="DM Sans" pitchFamily="2" charset="77"/>
              </a:rPr>
              <a:t> badan </a:t>
            </a:r>
            <a:r>
              <a:rPr lang="en-US" sz="1500" dirty="0" err="1">
                <a:latin typeface="DM Sans" pitchFamily="2" charset="77"/>
              </a:rPr>
              <a:t>usaha</a:t>
            </a:r>
            <a:endParaRPr lang="en-US" sz="1500" dirty="0">
              <a:latin typeface="DM Sans" pitchFamily="2" charset="77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500" dirty="0" err="1">
                <a:latin typeface="DM Sans" pitchFamily="2" charset="77"/>
              </a:rPr>
              <a:t>Menerapkan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standar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kemanan</a:t>
            </a:r>
            <a:r>
              <a:rPr lang="en-US" sz="1500" dirty="0">
                <a:latin typeface="DM Sans" pitchFamily="2" charset="77"/>
              </a:rPr>
              <a:t>, </a:t>
            </a:r>
            <a:r>
              <a:rPr lang="en-US" sz="1500" dirty="0" err="1">
                <a:latin typeface="DM Sans" pitchFamily="2" charset="77"/>
              </a:rPr>
              <a:t>keselamatan</a:t>
            </a:r>
            <a:r>
              <a:rPr lang="en-US" sz="1500" dirty="0">
                <a:latin typeface="DM Sans" pitchFamily="2" charset="77"/>
              </a:rPr>
              <a:t>, </a:t>
            </a:r>
            <a:r>
              <a:rPr lang="en-US" sz="1500" dirty="0" err="1">
                <a:latin typeface="DM Sans" pitchFamily="2" charset="77"/>
              </a:rPr>
              <a:t>kesehatan</a:t>
            </a:r>
            <a:r>
              <a:rPr lang="en-US" sz="1500" dirty="0">
                <a:latin typeface="DM Sans" pitchFamily="2" charset="77"/>
              </a:rPr>
              <a:t> dan </a:t>
            </a:r>
            <a:r>
              <a:rPr lang="en-US" sz="1500" dirty="0" err="1">
                <a:latin typeface="DM Sans" pitchFamily="2" charset="77"/>
              </a:rPr>
              <a:t>keberlanjutan</a:t>
            </a:r>
            <a:r>
              <a:rPr lang="en-US" sz="1500" dirty="0">
                <a:latin typeface="DM Sans" pitchFamily="2" charset="77"/>
              </a:rPr>
              <a:t>, </a:t>
            </a:r>
            <a:r>
              <a:rPr lang="en-US" sz="1500" dirty="0" err="1">
                <a:latin typeface="DM Sans" pitchFamily="2" charset="77"/>
              </a:rPr>
              <a:t>meliputi</a:t>
            </a:r>
            <a:r>
              <a:rPr lang="en-US" sz="1500" dirty="0">
                <a:latin typeface="DM Sans" pitchFamily="2" charset="77"/>
              </a:rPr>
              <a:t> :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500" dirty="0" err="1">
                <a:latin typeface="DM Sans" pitchFamily="2" charset="77"/>
              </a:rPr>
              <a:t>Standar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mutu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bahan</a:t>
            </a:r>
            <a:endParaRPr lang="en-US" sz="1500" dirty="0">
              <a:latin typeface="DM Sans" pitchFamily="2" charset="77"/>
            </a:endParaRPr>
          </a:p>
          <a:p>
            <a:pPr marL="342900" indent="-342900">
              <a:buFont typeface="+mj-lt"/>
              <a:buAutoNum type="alphaLcPeriod"/>
            </a:pPr>
            <a:r>
              <a:rPr lang="en-US" sz="1500" dirty="0" err="1">
                <a:latin typeface="DM Sans" pitchFamily="2" charset="77"/>
              </a:rPr>
              <a:t>Standar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mutu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peralatan</a:t>
            </a:r>
            <a:endParaRPr lang="en-US" sz="1500" dirty="0">
              <a:latin typeface="DM Sans" pitchFamily="2" charset="77"/>
            </a:endParaRPr>
          </a:p>
          <a:p>
            <a:pPr marL="342900" indent="-342900">
              <a:buFont typeface="+mj-lt"/>
              <a:buAutoNum type="alphaLcPeriod"/>
            </a:pPr>
            <a:r>
              <a:rPr lang="en-US" sz="1500" dirty="0" err="1">
                <a:latin typeface="DM Sans" pitchFamily="2" charset="77"/>
              </a:rPr>
              <a:t>Standar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keselamatan</a:t>
            </a:r>
            <a:r>
              <a:rPr lang="en-US" sz="1500" dirty="0">
                <a:latin typeface="DM Sans" pitchFamily="2" charset="77"/>
              </a:rPr>
              <a:t> dan </a:t>
            </a:r>
            <a:r>
              <a:rPr lang="en-US" sz="1500" dirty="0" err="1">
                <a:latin typeface="DM Sans" pitchFamily="2" charset="77"/>
              </a:rPr>
              <a:t>kesehatan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kerja</a:t>
            </a:r>
            <a:endParaRPr lang="en-US" sz="1500" dirty="0">
              <a:latin typeface="DM Sans" pitchFamily="2" charset="77"/>
            </a:endParaRPr>
          </a:p>
          <a:p>
            <a:pPr marL="342900" indent="-342900">
              <a:buFont typeface="+mj-lt"/>
              <a:buAutoNum type="alphaLcPeriod"/>
            </a:pPr>
            <a:r>
              <a:rPr lang="en-US" sz="1500" dirty="0" err="1">
                <a:latin typeface="DM Sans" pitchFamily="2" charset="77"/>
              </a:rPr>
              <a:t>Standar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prosedur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pelaksanaan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jasa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konstruksi</a:t>
            </a:r>
            <a:endParaRPr lang="en-US" sz="1500" dirty="0">
              <a:latin typeface="DM Sans" pitchFamily="2" charset="77"/>
            </a:endParaRPr>
          </a:p>
          <a:p>
            <a:pPr marL="342900" indent="-342900">
              <a:buFont typeface="+mj-lt"/>
              <a:buAutoNum type="alphaLcPeriod"/>
            </a:pPr>
            <a:r>
              <a:rPr lang="en-US" sz="1500" dirty="0" err="1">
                <a:latin typeface="DM Sans" pitchFamily="2" charset="77"/>
              </a:rPr>
              <a:t>Standar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mutu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hasil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pelaksanaan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jasa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konstruksi</a:t>
            </a:r>
            <a:endParaRPr lang="en-US" sz="1500" dirty="0">
              <a:latin typeface="DM Sans" pitchFamily="2" charset="77"/>
            </a:endParaRPr>
          </a:p>
          <a:p>
            <a:pPr marL="342900" indent="-342900">
              <a:buFont typeface="+mj-lt"/>
              <a:buAutoNum type="alphaLcPeriod"/>
            </a:pPr>
            <a:r>
              <a:rPr lang="en-US" sz="1500" dirty="0" err="1">
                <a:latin typeface="DM Sans" pitchFamily="2" charset="77"/>
              </a:rPr>
              <a:t>Standar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operasi</a:t>
            </a:r>
            <a:r>
              <a:rPr lang="en-US" sz="1500" dirty="0">
                <a:latin typeface="DM Sans" pitchFamily="2" charset="77"/>
              </a:rPr>
              <a:t> dan </a:t>
            </a:r>
            <a:r>
              <a:rPr lang="en-US" sz="1500" dirty="0" err="1">
                <a:latin typeface="DM Sans" pitchFamily="2" charset="77"/>
              </a:rPr>
              <a:t>pemeliharaan</a:t>
            </a:r>
            <a:endParaRPr lang="en-US" sz="1500" dirty="0">
              <a:latin typeface="DM Sans" pitchFamily="2" charset="77"/>
            </a:endParaRPr>
          </a:p>
          <a:p>
            <a:pPr marL="342900" indent="-342900">
              <a:buFont typeface="+mj-lt"/>
              <a:buAutoNum type="alphaLcPeriod"/>
            </a:pPr>
            <a:r>
              <a:rPr lang="en-US" sz="1500" dirty="0" err="1">
                <a:latin typeface="DM Sans" pitchFamily="2" charset="77"/>
              </a:rPr>
              <a:t>Pedoman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perlindungan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sosial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tenaga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kerja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sesuai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ketentuan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peraturan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perundang-undangan</a:t>
            </a:r>
            <a:endParaRPr lang="en-US" sz="1500" dirty="0">
              <a:latin typeface="DM Sans" pitchFamily="2" charset="77"/>
            </a:endParaRPr>
          </a:p>
          <a:p>
            <a:pPr marL="342900" indent="-342900">
              <a:buFont typeface="+mj-lt"/>
              <a:buAutoNum type="alphaLcPeriod"/>
            </a:pPr>
            <a:r>
              <a:rPr lang="en-US" sz="1500" dirty="0" err="1">
                <a:latin typeface="DM Sans" pitchFamily="2" charset="77"/>
              </a:rPr>
              <a:t>Standar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pengelolaan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lingkungan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hidup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sesuai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ketentuan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peraturan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perundang-undangan</a:t>
            </a:r>
            <a:r>
              <a:rPr lang="en-US" sz="1500" dirty="0">
                <a:latin typeface="DM Sans" pitchFamily="2" charset="77"/>
              </a:rPr>
              <a:t>.</a:t>
            </a:r>
          </a:p>
        </p:txBody>
      </p:sp>
      <p:pic>
        <p:nvPicPr>
          <p:cNvPr id="5" name="Picture 4" descr="lgo sigap.png">
            <a:extLst>
              <a:ext uri="{FF2B5EF4-FFF2-40B4-BE49-F238E27FC236}">
                <a16:creationId xmlns:a16="http://schemas.microsoft.com/office/drawing/2014/main" id="{A2E5A441-3A87-F4D1-281D-BA791A7966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6" name="Round Same Side Corner Rectangle 1">
            <a:extLst>
              <a:ext uri="{FF2B5EF4-FFF2-40B4-BE49-F238E27FC236}">
                <a16:creationId xmlns:a16="http://schemas.microsoft.com/office/drawing/2014/main" id="{D7F04E2D-B6CA-2E10-92D2-F001E3EAB66B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33A9FA9-A69A-748F-2CB0-4D9B599C6841}"/>
              </a:ext>
            </a:extLst>
          </p:cNvPr>
          <p:cNvSpPr txBox="1">
            <a:spLocks/>
          </p:cNvSpPr>
          <p:nvPr/>
        </p:nvSpPr>
        <p:spPr>
          <a:xfrm>
            <a:off x="176914" y="169726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700" b="1" dirty="0">
                <a:solidFill>
                  <a:prstClr val="black"/>
                </a:solidFill>
                <a:latin typeface="Segoe UI"/>
              </a:rPr>
              <a:t>KEWAJIBAN ASOSIASI TERAKREDITASI DAN</a:t>
            </a:r>
          </a:p>
          <a:p>
            <a:pPr>
              <a:lnSpc>
                <a:spcPct val="100000"/>
              </a:lnSpc>
              <a:defRPr/>
            </a:pPr>
            <a:r>
              <a:rPr lang="fi-FI" sz="2700" b="1" dirty="0">
                <a:solidFill>
                  <a:prstClr val="black"/>
                </a:solidFill>
                <a:latin typeface="Segoe UI"/>
              </a:rPr>
              <a:t>BADAN USAHA JASA KONSTRUKSI</a:t>
            </a:r>
          </a:p>
          <a:p>
            <a:pPr>
              <a:lnSpc>
                <a:spcPct val="100000"/>
              </a:lnSpc>
              <a:defRPr/>
            </a:pPr>
            <a:endParaRPr lang="fi-FI" sz="2700" b="1" dirty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8" name="TextBox 27">
            <a:extLst>
              <a:ext uri="{FF2B5EF4-FFF2-40B4-BE49-F238E27FC236}">
                <a16:creationId xmlns:a16="http://schemas.microsoft.com/office/drawing/2014/main" id="{758A3A81-DFA7-7124-CA5A-1B557C081D77}"/>
              </a:ext>
            </a:extLst>
          </p:cNvPr>
          <p:cNvSpPr txBox="1"/>
          <p:nvPr/>
        </p:nvSpPr>
        <p:spPr>
          <a:xfrm>
            <a:off x="482396" y="1385560"/>
            <a:ext cx="5635686" cy="48731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Kewajiba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Asosias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erakireditasi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-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P 14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ahu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2021 Pasal 42J</a:t>
            </a:r>
          </a:p>
        </p:txBody>
      </p:sp>
      <p:sp>
        <p:nvSpPr>
          <p:cNvPr id="9" name="TextBox 27">
            <a:extLst>
              <a:ext uri="{FF2B5EF4-FFF2-40B4-BE49-F238E27FC236}">
                <a16:creationId xmlns:a16="http://schemas.microsoft.com/office/drawing/2014/main" id="{CB2A7060-D944-1164-895A-7BB0842F4320}"/>
              </a:ext>
            </a:extLst>
          </p:cNvPr>
          <p:cNvSpPr txBox="1"/>
          <p:nvPr/>
        </p:nvSpPr>
        <p:spPr>
          <a:xfrm>
            <a:off x="6556314" y="1414393"/>
            <a:ext cx="5635686" cy="48731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Kewajiba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BUJK</a:t>
            </a:r>
          </a:p>
          <a:p>
            <a:pPr marL="0" marR="0" lvl="0" indent="0" algn="l" defTabSz="609630" rtl="0" eaLnBrk="1" fontAlgn="auto" latinLnBrk="0" hangingPunct="1">
              <a:lnSpc>
                <a:spcPts val="186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- Lampiran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PP 05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Tahu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2021 II.8.A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AAC5279-E658-479A-224F-C15654DFB5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2834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1D66DC-1C90-6948-BC17-50F085AA93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81F06F8-F742-4F8E-E828-F604DDD06B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931" y="2534123"/>
            <a:ext cx="12192000" cy="50537"/>
          </a:xfrm>
          <a:prstGeom prst="rect">
            <a:avLst/>
          </a:prstGeom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664E9A18-AB21-C423-59B6-F3B5A1E652DD}"/>
              </a:ext>
            </a:extLst>
          </p:cNvPr>
          <p:cNvSpPr txBox="1"/>
          <p:nvPr/>
        </p:nvSpPr>
        <p:spPr>
          <a:xfrm>
            <a:off x="2469515" y="4462655"/>
            <a:ext cx="9012572" cy="136704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4400" b="1" spc="-90" dirty="0">
                <a:solidFill>
                  <a:srgbClr val="002060"/>
                </a:solidFill>
                <a:latin typeface="Verdana"/>
                <a:cs typeface="Verdana"/>
              </a:rPr>
              <a:t>DATA SBU, BUJK, TUK, DAN ASOSIASI PROV KALTIM</a:t>
            </a:r>
            <a:endParaRPr sz="4400" dirty="0">
              <a:solidFill>
                <a:srgbClr val="002060"/>
              </a:solidFill>
              <a:latin typeface="Verdana"/>
              <a:cs typeface="Verdana"/>
            </a:endParaRPr>
          </a:p>
        </p:txBody>
      </p:sp>
      <p:pic>
        <p:nvPicPr>
          <p:cNvPr id="5" name="object 5">
            <a:extLst>
              <a:ext uri="{FF2B5EF4-FFF2-40B4-BE49-F238E27FC236}">
                <a16:creationId xmlns:a16="http://schemas.microsoft.com/office/drawing/2014/main" id="{B7BABBC3-5643-6EB6-D5B9-3476E21D1686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818119" y="457200"/>
            <a:ext cx="4605020" cy="2806700"/>
          </a:xfrm>
          <a:prstGeom prst="rect">
            <a:avLst/>
          </a:prstGeom>
        </p:spPr>
      </p:pic>
      <p:sp>
        <p:nvSpPr>
          <p:cNvPr id="7" name="object 7">
            <a:extLst>
              <a:ext uri="{FF2B5EF4-FFF2-40B4-BE49-F238E27FC236}">
                <a16:creationId xmlns:a16="http://schemas.microsoft.com/office/drawing/2014/main" id="{9376A4C1-9292-2296-330E-B6B08A3290CF}"/>
              </a:ext>
            </a:extLst>
          </p:cNvPr>
          <p:cNvSpPr/>
          <p:nvPr/>
        </p:nvSpPr>
        <p:spPr>
          <a:xfrm>
            <a:off x="-11931" y="-228600"/>
            <a:ext cx="10261600" cy="2771140"/>
          </a:xfrm>
          <a:custGeom>
            <a:avLst/>
            <a:gdLst/>
            <a:ahLst/>
            <a:cxnLst/>
            <a:rect l="l" t="t" r="r" b="b"/>
            <a:pathLst>
              <a:path w="10261600" h="2771140">
                <a:moveTo>
                  <a:pt x="9645050" y="0"/>
                </a:moveTo>
                <a:lnTo>
                  <a:pt x="0" y="0"/>
                </a:lnTo>
                <a:lnTo>
                  <a:pt x="0" y="2771140"/>
                </a:lnTo>
                <a:lnTo>
                  <a:pt x="9278493" y="2771140"/>
                </a:lnTo>
                <a:lnTo>
                  <a:pt x="10261600" y="1068070"/>
                </a:lnTo>
                <a:lnTo>
                  <a:pt x="9645050" y="0"/>
                </a:lnTo>
                <a:close/>
              </a:path>
            </a:pathLst>
          </a:custGeom>
          <a:solidFill>
            <a:schemeClr val="bg1">
              <a:lumMod val="85000"/>
              <a:alpha val="46665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B99D87A2-E228-5C78-0822-263A5A331459}"/>
              </a:ext>
            </a:extLst>
          </p:cNvPr>
          <p:cNvSpPr/>
          <p:nvPr/>
        </p:nvSpPr>
        <p:spPr>
          <a:xfrm>
            <a:off x="6471920" y="-93980"/>
            <a:ext cx="5742940" cy="3357879"/>
          </a:xfrm>
          <a:custGeom>
            <a:avLst/>
            <a:gdLst/>
            <a:ahLst/>
            <a:cxnLst/>
            <a:rect l="l" t="t" r="r" b="b"/>
            <a:pathLst>
              <a:path w="5742940" h="3357879">
                <a:moveTo>
                  <a:pt x="4774692" y="0"/>
                </a:moveTo>
                <a:lnTo>
                  <a:pt x="968248" y="0"/>
                </a:lnTo>
                <a:lnTo>
                  <a:pt x="0" y="1678939"/>
                </a:lnTo>
                <a:lnTo>
                  <a:pt x="968248" y="3357879"/>
                </a:lnTo>
                <a:lnTo>
                  <a:pt x="4774692" y="3357879"/>
                </a:lnTo>
                <a:lnTo>
                  <a:pt x="5742940" y="1678939"/>
                </a:lnTo>
                <a:lnTo>
                  <a:pt x="4774692" y="0"/>
                </a:lnTo>
                <a:close/>
              </a:path>
            </a:pathLst>
          </a:custGeom>
          <a:solidFill>
            <a:srgbClr val="36528A">
              <a:alpha val="67842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7" descr="Text, logo&#10;&#10;Description automatically generated">
            <a:extLst>
              <a:ext uri="{FF2B5EF4-FFF2-40B4-BE49-F238E27FC236}">
                <a16:creationId xmlns:a16="http://schemas.microsoft.com/office/drawing/2014/main" id="{29974BFE-70BC-BA1A-99BF-059081DA50D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043" y="67678"/>
            <a:ext cx="1615921" cy="614684"/>
          </a:xfrm>
          <a:prstGeom prst="rect">
            <a:avLst/>
          </a:prstGeom>
        </p:spPr>
      </p:pic>
      <p:pic>
        <p:nvPicPr>
          <p:cNvPr id="9" name="Picture 30" descr="A black background with red and black text&#10;&#10;Description automatically generated">
            <a:extLst>
              <a:ext uri="{FF2B5EF4-FFF2-40B4-BE49-F238E27FC236}">
                <a16:creationId xmlns:a16="http://schemas.microsoft.com/office/drawing/2014/main" id="{D59258F3-5127-8250-7688-100E2B279DD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1968133" y="-164396"/>
            <a:ext cx="1106668" cy="1106668"/>
          </a:xfrm>
          <a:prstGeom prst="rect">
            <a:avLst/>
          </a:prstGeom>
        </p:spPr>
      </p:pic>
      <p:pic>
        <p:nvPicPr>
          <p:cNvPr id="10" name="Picture 9" descr="lgo sigap.png">
            <a:extLst>
              <a:ext uri="{FF2B5EF4-FFF2-40B4-BE49-F238E27FC236}">
                <a16:creationId xmlns:a16="http://schemas.microsoft.com/office/drawing/2014/main" id="{75808627-9789-5C5F-7CEF-A84544F28D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  <p:sp>
        <p:nvSpPr>
          <p:cNvPr id="11" name="object 2">
            <a:extLst>
              <a:ext uri="{FF2B5EF4-FFF2-40B4-BE49-F238E27FC236}">
                <a16:creationId xmlns:a16="http://schemas.microsoft.com/office/drawing/2014/main" id="{561860D8-FF3D-0E63-AEB1-76D18CC06737}"/>
              </a:ext>
            </a:extLst>
          </p:cNvPr>
          <p:cNvSpPr txBox="1"/>
          <p:nvPr/>
        </p:nvSpPr>
        <p:spPr>
          <a:xfrm>
            <a:off x="269043" y="3106740"/>
            <a:ext cx="1534474" cy="32444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1000" b="1" spc="-9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endParaRPr sz="210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29727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FBC31573-E3A6-D92D-D913-40988AB0F0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7582777"/>
              </p:ext>
            </p:extLst>
          </p:nvPr>
        </p:nvGraphicFramePr>
        <p:xfrm>
          <a:off x="487102" y="3579331"/>
          <a:ext cx="10248192" cy="3017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6685">
                  <a:extLst>
                    <a:ext uri="{9D8B030D-6E8A-4147-A177-3AD203B41FA5}">
                      <a16:colId xmlns:a16="http://schemas.microsoft.com/office/drawing/2014/main" val="763583010"/>
                    </a:ext>
                  </a:extLst>
                </a:gridCol>
                <a:gridCol w="2208810">
                  <a:extLst>
                    <a:ext uri="{9D8B030D-6E8A-4147-A177-3AD203B41FA5}">
                      <a16:colId xmlns:a16="http://schemas.microsoft.com/office/drawing/2014/main" val="1901301887"/>
                    </a:ext>
                  </a:extLst>
                </a:gridCol>
                <a:gridCol w="1923803">
                  <a:extLst>
                    <a:ext uri="{9D8B030D-6E8A-4147-A177-3AD203B41FA5}">
                      <a16:colId xmlns:a16="http://schemas.microsoft.com/office/drawing/2014/main" val="2732165686"/>
                    </a:ext>
                  </a:extLst>
                </a:gridCol>
                <a:gridCol w="1769423">
                  <a:extLst>
                    <a:ext uri="{9D8B030D-6E8A-4147-A177-3AD203B41FA5}">
                      <a16:colId xmlns:a16="http://schemas.microsoft.com/office/drawing/2014/main" val="3581217488"/>
                    </a:ext>
                  </a:extLst>
                </a:gridCol>
                <a:gridCol w="1781299">
                  <a:extLst>
                    <a:ext uri="{9D8B030D-6E8A-4147-A177-3AD203B41FA5}">
                      <a16:colId xmlns:a16="http://schemas.microsoft.com/office/drawing/2014/main" val="1948319687"/>
                    </a:ext>
                  </a:extLst>
                </a:gridCol>
                <a:gridCol w="1698172">
                  <a:extLst>
                    <a:ext uri="{9D8B030D-6E8A-4147-A177-3AD203B41FA5}">
                      <a16:colId xmlns:a16="http://schemas.microsoft.com/office/drawing/2014/main" val="3844095789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/>
                      <a:endParaRPr lang="en-US" sz="1000" b="1" dirty="0">
                        <a:solidFill>
                          <a:schemeClr val="bg1"/>
                        </a:solidFill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rgbClr val="174A9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err="1">
                          <a:solidFill>
                            <a:schemeClr val="bg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Jenis</a:t>
                      </a: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 Usaha</a:t>
                      </a:r>
                    </a:p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-----------</a:t>
                      </a:r>
                    </a:p>
                    <a:p>
                      <a:pPr algn="ctr"/>
                      <a:r>
                        <a:rPr lang="en-US" sz="1000" b="1" dirty="0" err="1">
                          <a:solidFill>
                            <a:schemeClr val="bg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Kualifikasi</a:t>
                      </a: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 </a:t>
                      </a:r>
                    </a:p>
                  </a:txBody>
                  <a:tcPr anchor="ctr">
                    <a:solidFill>
                      <a:srgbClr val="174A9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err="1">
                          <a:solidFill>
                            <a:schemeClr val="bg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Pekerjaan</a:t>
                      </a: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 </a:t>
                      </a:r>
                      <a:r>
                        <a:rPr lang="en-US" sz="1000" b="1" dirty="0" err="1">
                          <a:solidFill>
                            <a:schemeClr val="bg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Konstruksi</a:t>
                      </a:r>
                      <a:endParaRPr lang="en-ID" sz="1000" b="1" dirty="0">
                        <a:solidFill>
                          <a:schemeClr val="bg1"/>
                        </a:solidFill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rgbClr val="174A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DM Sans" pitchFamily="2" charset="77"/>
                          <a:cs typeface="Plus Jakarta Sans" pitchFamily="2" charset="0"/>
                        </a:rPr>
                        <a:t>Konsultansi</a:t>
                      </a:r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DM Sans" pitchFamily="2" charset="77"/>
                          <a:cs typeface="Plus Jakarta Sans" pitchFamily="2" charset="0"/>
                        </a:rPr>
                        <a:t> </a:t>
                      </a:r>
                      <a:r>
                        <a:rPr lang="en-US" sz="1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DM Sans" pitchFamily="2" charset="77"/>
                          <a:cs typeface="Plus Jakarta Sans" pitchFamily="2" charset="0"/>
                        </a:rPr>
                        <a:t>Konstruksi</a:t>
                      </a:r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DM Sans" pitchFamily="2" charset="77"/>
                          <a:cs typeface="Plus Jakarta Sans" pitchFamily="2" charset="0"/>
                        </a:rPr>
                        <a:t> </a:t>
                      </a:r>
                      <a:endParaRPr lang="en-ID" sz="1000" b="1" i="0" u="none" strike="noStrike" dirty="0">
                        <a:solidFill>
                          <a:schemeClr val="bg1"/>
                        </a:solidFill>
                        <a:effectLst/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marL="9525" marR="9525" marT="9525" marB="0" anchor="ctr">
                    <a:solidFill>
                      <a:srgbClr val="174A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DM Sans" pitchFamily="2" charset="77"/>
                          <a:cs typeface="Plus Jakarta Sans" pitchFamily="2" charset="0"/>
                        </a:rPr>
                        <a:t>Konstruksi</a:t>
                      </a:r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DM Sans" pitchFamily="2" charset="77"/>
                          <a:cs typeface="Plus Jakarta Sans" pitchFamily="2" charset="0"/>
                        </a:rPr>
                        <a:t> </a:t>
                      </a:r>
                      <a:r>
                        <a:rPr lang="en-US" sz="1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DM Sans" pitchFamily="2" charset="77"/>
                          <a:cs typeface="Plus Jakarta Sans" pitchFamily="2" charset="0"/>
                        </a:rPr>
                        <a:t>Terintegrasi</a:t>
                      </a:r>
                      <a:endParaRPr lang="en-ID" sz="1000" b="1" i="0" u="none" strike="noStrike" dirty="0">
                        <a:solidFill>
                          <a:schemeClr val="bg1"/>
                        </a:solidFill>
                        <a:effectLst/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marL="9525" marR="9525" marT="9525" marB="0" anchor="ctr">
                    <a:solidFill>
                      <a:srgbClr val="174A9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err="1">
                          <a:solidFill>
                            <a:schemeClr val="bg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Jumlah</a:t>
                      </a: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 Total</a:t>
                      </a:r>
                      <a:endParaRPr lang="en-ID" sz="1000" b="1" dirty="0">
                        <a:solidFill>
                          <a:schemeClr val="bg1"/>
                        </a:solidFill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rgbClr val="174A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314876"/>
                  </a:ext>
                </a:extLst>
              </a:tr>
              <a:tr h="216000">
                <a:tc rowSpan="4">
                  <a:txBody>
                    <a:bodyPr/>
                    <a:lstStyle/>
                    <a:p>
                      <a:pPr algn="ctr"/>
                      <a:r>
                        <a:rPr lang="en-ID" sz="1000">
                          <a:solidFill>
                            <a:schemeClr val="tx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KBLI</a:t>
                      </a:r>
                      <a:br>
                        <a:rPr lang="en-ID" sz="1000">
                          <a:solidFill>
                            <a:schemeClr val="tx1"/>
                          </a:solidFill>
                          <a:latin typeface="DM Sans" pitchFamily="2" charset="77"/>
                          <a:cs typeface="Plus Jakarta Sans" pitchFamily="2" charset="0"/>
                        </a:rPr>
                      </a:br>
                      <a:r>
                        <a:rPr lang="en-ID" sz="1000">
                          <a:solidFill>
                            <a:schemeClr val="tx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2017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>
                          <a:solidFill>
                            <a:schemeClr val="tx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Besar</a:t>
                      </a:r>
                      <a:endParaRPr lang="en-ID" sz="1000" dirty="0">
                        <a:solidFill>
                          <a:schemeClr val="tx1"/>
                        </a:solidFill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24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297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321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1055866"/>
                  </a:ext>
                </a:extLst>
              </a:tr>
              <a:tr h="21600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>
                          <a:solidFill>
                            <a:schemeClr val="tx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Menengah</a:t>
                      </a:r>
                      <a:endParaRPr lang="en-ID" sz="1000" dirty="0">
                        <a:solidFill>
                          <a:schemeClr val="tx1"/>
                        </a:solidFill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792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43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835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24110"/>
                  </a:ext>
                </a:extLst>
              </a:tr>
              <a:tr h="216000">
                <a:tc vMerge="1">
                  <a:txBody>
                    <a:bodyPr/>
                    <a:lstStyle/>
                    <a:p>
                      <a:pPr algn="ctr"/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Kecil</a:t>
                      </a:r>
                      <a:endParaRPr lang="en-ID" sz="1000">
                        <a:solidFill>
                          <a:schemeClr val="tx1"/>
                        </a:solidFill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2.462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2.462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6765870"/>
                  </a:ext>
                </a:extLst>
              </a:tr>
              <a:tr h="216000">
                <a:tc vMerge="1">
                  <a:txBody>
                    <a:bodyPr/>
                    <a:lstStyle/>
                    <a:p>
                      <a:pPr algn="ctr"/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err="1">
                          <a:solidFill>
                            <a:schemeClr val="tx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Spesialis</a:t>
                      </a:r>
                      <a:endParaRPr lang="en-ID" sz="1000">
                        <a:solidFill>
                          <a:schemeClr val="tx1"/>
                        </a:solidFill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207153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/>
                      <a:endParaRPr lang="en-ID" sz="1000" b="1">
                        <a:solidFill>
                          <a:schemeClr val="tx1"/>
                        </a:solidFill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tx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Total</a:t>
                      </a:r>
                      <a:endParaRPr lang="en-ID" sz="1100" b="1">
                        <a:solidFill>
                          <a:schemeClr val="tx1"/>
                        </a:solidFill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3.278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340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3.619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7366391"/>
                  </a:ext>
                </a:extLst>
              </a:tr>
              <a:tr h="216000">
                <a:tc rowSpan="4">
                  <a:txBody>
                    <a:bodyPr/>
                    <a:lstStyle/>
                    <a:p>
                      <a:pPr algn="ctr"/>
                      <a:r>
                        <a:rPr lang="en-ID" sz="1000" dirty="0">
                          <a:solidFill>
                            <a:schemeClr val="tx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KBLI</a:t>
                      </a:r>
                    </a:p>
                    <a:p>
                      <a:pPr algn="ctr"/>
                      <a:r>
                        <a:rPr lang="en-ID" sz="1000" dirty="0">
                          <a:solidFill>
                            <a:schemeClr val="tx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2020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err="1">
                          <a:solidFill>
                            <a:schemeClr val="tx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Besar</a:t>
                      </a:r>
                      <a:endParaRPr lang="en-ID" sz="1000">
                        <a:solidFill>
                          <a:schemeClr val="tx1"/>
                        </a:solidFill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44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48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3259576"/>
                  </a:ext>
                </a:extLst>
              </a:tr>
              <a:tr h="216000">
                <a:tc vMerge="1">
                  <a:txBody>
                    <a:bodyPr/>
                    <a:lstStyle/>
                    <a:p>
                      <a:pPr algn="ctr"/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err="1">
                          <a:solidFill>
                            <a:schemeClr val="tx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Menengah</a:t>
                      </a:r>
                      <a:endParaRPr lang="en-ID" sz="1000">
                        <a:solidFill>
                          <a:schemeClr val="tx1"/>
                        </a:solidFill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304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2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324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7487017"/>
                  </a:ext>
                </a:extLst>
              </a:tr>
              <a:tr h="216000">
                <a:tc vMerge="1">
                  <a:txBody>
                    <a:bodyPr/>
                    <a:lstStyle/>
                    <a:p>
                      <a:pPr algn="ctr"/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Kecil</a:t>
                      </a:r>
                      <a:endParaRPr lang="en-ID" sz="1000">
                        <a:solidFill>
                          <a:schemeClr val="tx1"/>
                        </a:solidFill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8.098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.136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3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9.237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9228433"/>
                  </a:ext>
                </a:extLst>
              </a:tr>
              <a:tr h="216000">
                <a:tc vMerge="1">
                  <a:txBody>
                    <a:bodyPr/>
                    <a:lstStyle/>
                    <a:p>
                      <a:pPr algn="ctr"/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err="1">
                          <a:solidFill>
                            <a:schemeClr val="tx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Spesialis</a:t>
                      </a:r>
                      <a:endParaRPr lang="en-ID" sz="1000">
                        <a:solidFill>
                          <a:schemeClr val="tx1"/>
                        </a:solidFill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285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286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75262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/>
                      <a:endParaRPr lang="en-ID" sz="1000" b="1">
                        <a:solidFill>
                          <a:schemeClr val="tx1"/>
                        </a:solidFill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Total</a:t>
                      </a:r>
                      <a:endParaRPr lang="en-ID" sz="1100" b="1" dirty="0">
                        <a:solidFill>
                          <a:schemeClr val="tx1"/>
                        </a:solidFill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8.73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.159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5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9.895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57454"/>
                  </a:ext>
                </a:extLst>
              </a:tr>
            </a:tbl>
          </a:graphicData>
        </a:graphic>
      </p:graphicFrame>
      <p:pic>
        <p:nvPicPr>
          <p:cNvPr id="3" name="Picture 2" descr="lgo sigap.png">
            <a:extLst>
              <a:ext uri="{FF2B5EF4-FFF2-40B4-BE49-F238E27FC236}">
                <a16:creationId xmlns:a16="http://schemas.microsoft.com/office/drawing/2014/main" id="{C9073AAD-0B51-956A-16A8-000F555B88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4" name="Round Same Side Corner Rectangle 1">
            <a:extLst>
              <a:ext uri="{FF2B5EF4-FFF2-40B4-BE49-F238E27FC236}">
                <a16:creationId xmlns:a16="http://schemas.microsoft.com/office/drawing/2014/main" id="{652F2C15-F62C-0021-0DE3-490D3D9C006B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EFCBC2A-31E0-4B68-6DAA-E14A38967E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6418A30E-61DB-C3E4-ED46-A0ECF8051CAF}"/>
              </a:ext>
            </a:extLst>
          </p:cNvPr>
          <p:cNvSpPr txBox="1">
            <a:spLocks/>
          </p:cNvSpPr>
          <p:nvPr/>
        </p:nvSpPr>
        <p:spPr>
          <a:xfrm>
            <a:off x="328354" y="169726"/>
            <a:ext cx="69182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400" b="1" dirty="0">
                <a:solidFill>
                  <a:prstClr val="black"/>
                </a:solidFill>
                <a:latin typeface="Segoe UI"/>
              </a:rPr>
              <a:t>DATA SBU </a:t>
            </a:r>
            <a:r>
              <a:rPr lang="fi-FI" sz="2400" dirty="0">
                <a:solidFill>
                  <a:prstClr val="black"/>
                </a:solidFill>
                <a:latin typeface="Segoe UI"/>
              </a:rPr>
              <a:t>PROVINSI KALIMANTAN TIMUR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81D666-6F76-90CF-B80A-452C6CBA4B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0375273"/>
              </p:ext>
            </p:extLst>
          </p:nvPr>
        </p:nvGraphicFramePr>
        <p:xfrm>
          <a:off x="487102" y="1247083"/>
          <a:ext cx="10248192" cy="1783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6685">
                  <a:extLst>
                    <a:ext uri="{9D8B030D-6E8A-4147-A177-3AD203B41FA5}">
                      <a16:colId xmlns:a16="http://schemas.microsoft.com/office/drawing/2014/main" val="763583010"/>
                    </a:ext>
                  </a:extLst>
                </a:gridCol>
                <a:gridCol w="2208810">
                  <a:extLst>
                    <a:ext uri="{9D8B030D-6E8A-4147-A177-3AD203B41FA5}">
                      <a16:colId xmlns:a16="http://schemas.microsoft.com/office/drawing/2014/main" val="1901301887"/>
                    </a:ext>
                  </a:extLst>
                </a:gridCol>
                <a:gridCol w="1923803">
                  <a:extLst>
                    <a:ext uri="{9D8B030D-6E8A-4147-A177-3AD203B41FA5}">
                      <a16:colId xmlns:a16="http://schemas.microsoft.com/office/drawing/2014/main" val="2732165686"/>
                    </a:ext>
                  </a:extLst>
                </a:gridCol>
                <a:gridCol w="1769423">
                  <a:extLst>
                    <a:ext uri="{9D8B030D-6E8A-4147-A177-3AD203B41FA5}">
                      <a16:colId xmlns:a16="http://schemas.microsoft.com/office/drawing/2014/main" val="3581217488"/>
                    </a:ext>
                  </a:extLst>
                </a:gridCol>
                <a:gridCol w="1781299">
                  <a:extLst>
                    <a:ext uri="{9D8B030D-6E8A-4147-A177-3AD203B41FA5}">
                      <a16:colId xmlns:a16="http://schemas.microsoft.com/office/drawing/2014/main" val="1948319687"/>
                    </a:ext>
                  </a:extLst>
                </a:gridCol>
                <a:gridCol w="1698172">
                  <a:extLst>
                    <a:ext uri="{9D8B030D-6E8A-4147-A177-3AD203B41FA5}">
                      <a16:colId xmlns:a16="http://schemas.microsoft.com/office/drawing/2014/main" val="3844095789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/>
                      <a:endParaRPr lang="en-US" sz="1000" b="1" dirty="0">
                        <a:solidFill>
                          <a:schemeClr val="bg1"/>
                        </a:solidFill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err="1">
                          <a:solidFill>
                            <a:schemeClr val="bg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Jenis</a:t>
                      </a: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 Usaha</a:t>
                      </a:r>
                    </a:p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-----------</a:t>
                      </a:r>
                    </a:p>
                    <a:p>
                      <a:pPr algn="ctr"/>
                      <a:r>
                        <a:rPr lang="en-US" sz="1000" b="1" dirty="0" err="1">
                          <a:solidFill>
                            <a:schemeClr val="bg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Kualifikasi</a:t>
                      </a: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 </a:t>
                      </a:r>
                    </a:p>
                  </a:txBody>
                  <a:tcPr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err="1">
                          <a:solidFill>
                            <a:schemeClr val="bg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Pekerjaan</a:t>
                      </a: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 </a:t>
                      </a:r>
                      <a:r>
                        <a:rPr lang="en-US" sz="1000" b="1" dirty="0" err="1">
                          <a:solidFill>
                            <a:schemeClr val="bg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Konstruksi</a:t>
                      </a:r>
                      <a:endParaRPr lang="en-ID" sz="1000" b="1" dirty="0">
                        <a:solidFill>
                          <a:schemeClr val="bg1"/>
                        </a:solidFill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DM Sans" pitchFamily="2" charset="77"/>
                          <a:cs typeface="Plus Jakarta Sans" pitchFamily="2" charset="0"/>
                        </a:rPr>
                        <a:t>Konsultansi</a:t>
                      </a:r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DM Sans" pitchFamily="2" charset="77"/>
                          <a:cs typeface="Plus Jakarta Sans" pitchFamily="2" charset="0"/>
                        </a:rPr>
                        <a:t> </a:t>
                      </a:r>
                      <a:r>
                        <a:rPr lang="en-US" sz="1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DM Sans" pitchFamily="2" charset="77"/>
                          <a:cs typeface="Plus Jakarta Sans" pitchFamily="2" charset="0"/>
                        </a:rPr>
                        <a:t>Konstruksi</a:t>
                      </a:r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DM Sans" pitchFamily="2" charset="77"/>
                          <a:cs typeface="Plus Jakarta Sans" pitchFamily="2" charset="0"/>
                        </a:rPr>
                        <a:t> </a:t>
                      </a:r>
                      <a:endParaRPr lang="en-ID" sz="1000" b="1" i="0" u="none" strike="noStrike" dirty="0">
                        <a:solidFill>
                          <a:schemeClr val="bg1"/>
                        </a:solidFill>
                        <a:effectLst/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marL="9525" marR="9525" marT="9525" marB="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DM Sans" pitchFamily="2" charset="77"/>
                          <a:cs typeface="Plus Jakarta Sans" pitchFamily="2" charset="0"/>
                        </a:rPr>
                        <a:t>Konstruksi</a:t>
                      </a:r>
                      <a:r>
                        <a:rPr lang="en-US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DM Sans" pitchFamily="2" charset="77"/>
                          <a:cs typeface="Plus Jakarta Sans" pitchFamily="2" charset="0"/>
                        </a:rPr>
                        <a:t> </a:t>
                      </a:r>
                      <a:r>
                        <a:rPr lang="en-US" sz="1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DM Sans" pitchFamily="2" charset="77"/>
                          <a:cs typeface="Plus Jakarta Sans" pitchFamily="2" charset="0"/>
                        </a:rPr>
                        <a:t>Terintegrasi</a:t>
                      </a:r>
                      <a:endParaRPr lang="en-ID" sz="1000" b="1" i="0" u="none" strike="noStrike" dirty="0">
                        <a:solidFill>
                          <a:schemeClr val="bg1"/>
                        </a:solidFill>
                        <a:effectLst/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marL="9525" marR="9525" marT="9525" marB="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err="1">
                          <a:solidFill>
                            <a:schemeClr val="bg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Jumlah</a:t>
                      </a:r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 Total</a:t>
                      </a:r>
                      <a:endParaRPr lang="en-ID" sz="1000" b="1" dirty="0">
                        <a:solidFill>
                          <a:schemeClr val="bg1"/>
                        </a:solidFill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314876"/>
                  </a:ext>
                </a:extLst>
              </a:tr>
              <a:tr h="216000">
                <a:tc rowSpan="4">
                  <a:txBody>
                    <a:bodyPr/>
                    <a:lstStyle/>
                    <a:p>
                      <a:pPr algn="ctr"/>
                      <a:r>
                        <a:rPr lang="en-ID" sz="1000">
                          <a:solidFill>
                            <a:schemeClr val="tx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KBLI</a:t>
                      </a:r>
                      <a:br>
                        <a:rPr lang="en-ID" sz="1000">
                          <a:solidFill>
                            <a:schemeClr val="tx1"/>
                          </a:solidFill>
                          <a:latin typeface="DM Sans" pitchFamily="2" charset="77"/>
                          <a:cs typeface="Plus Jakarta Sans" pitchFamily="2" charset="0"/>
                        </a:rPr>
                      </a:br>
                      <a:r>
                        <a:rPr lang="en-ID" sz="1000">
                          <a:solidFill>
                            <a:schemeClr val="tx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2017</a:t>
                      </a: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>
                          <a:solidFill>
                            <a:schemeClr val="tx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Besar</a:t>
                      </a:r>
                      <a:endParaRPr lang="en-ID" sz="1000" dirty="0">
                        <a:solidFill>
                          <a:schemeClr val="tx1"/>
                        </a:solidFill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35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4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4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43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1055866"/>
                  </a:ext>
                </a:extLst>
              </a:tr>
              <a:tr h="21600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>
                          <a:solidFill>
                            <a:schemeClr val="tx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Menengah</a:t>
                      </a:r>
                      <a:endParaRPr lang="en-ID" sz="1000" dirty="0">
                        <a:solidFill>
                          <a:schemeClr val="tx1"/>
                        </a:solidFill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4.306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50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1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4.467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24110"/>
                  </a:ext>
                </a:extLst>
              </a:tr>
              <a:tr h="216000">
                <a:tc vMerge="1">
                  <a:txBody>
                    <a:bodyPr/>
                    <a:lstStyle/>
                    <a:p>
                      <a:pPr algn="ctr"/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Kecil</a:t>
                      </a:r>
                      <a:endParaRPr lang="en-ID" sz="1000">
                        <a:solidFill>
                          <a:schemeClr val="tx1"/>
                        </a:solidFill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4.507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.902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6.409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6765870"/>
                  </a:ext>
                </a:extLst>
              </a:tr>
              <a:tr h="216000">
                <a:tc vMerge="1">
                  <a:txBody>
                    <a:bodyPr/>
                    <a:lstStyle/>
                    <a:p>
                      <a:pPr algn="ctr"/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>
                          <a:solidFill>
                            <a:schemeClr val="tx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Perorangan</a:t>
                      </a:r>
                      <a:endParaRPr lang="en-ID" sz="1000" dirty="0">
                        <a:solidFill>
                          <a:schemeClr val="tx1"/>
                        </a:solidFill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9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9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207153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/>
                      <a:endParaRPr lang="en-ID" sz="1000" b="1">
                        <a:solidFill>
                          <a:schemeClr val="tx1"/>
                        </a:solidFill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DM Sans" pitchFamily="2" charset="77"/>
                          <a:cs typeface="Plus Jakarta Sans" pitchFamily="2" charset="0"/>
                        </a:rPr>
                        <a:t>Total</a:t>
                      </a:r>
                      <a:endParaRPr lang="en-ID" sz="1100" b="1" dirty="0">
                        <a:solidFill>
                          <a:schemeClr val="tx1"/>
                        </a:solidFill>
                        <a:latin typeface="DM Sans" pitchFamily="2" charset="77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8.957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2.056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5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21.028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7366391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FEBD4B8E-9C27-9C16-9E7F-CC5871BC6F3B}"/>
              </a:ext>
            </a:extLst>
          </p:cNvPr>
          <p:cNvSpPr/>
          <p:nvPr/>
        </p:nvSpPr>
        <p:spPr>
          <a:xfrm>
            <a:off x="403563" y="878837"/>
            <a:ext cx="426344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762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altLang="ko-KR" sz="1400" b="1" dirty="0">
                <a:solidFill>
                  <a:prstClr val="black"/>
                </a:solidFill>
                <a:latin typeface="Plus Jakarta Sans" charset="0"/>
                <a:ea typeface="Plus Jakarta Sans" charset="0"/>
                <a:cs typeface="Plus Jakarta Sans" charset="0"/>
              </a:rPr>
              <a:t>DATA LPJK LAMA – 31 DESEMBER 2020 = 21.028 SBU</a:t>
            </a:r>
            <a:endParaRPr kumimoji="0" lang="fi-FI" altLang="ko-K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lus Jakarta Sans" charset="0"/>
              <a:ea typeface="Plus Jakarta Sans" charset="0"/>
              <a:cs typeface="Plus Jakarta Sans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0D7321-FA9F-D57D-A898-EEAE5B7D11CA}"/>
              </a:ext>
            </a:extLst>
          </p:cNvPr>
          <p:cNvSpPr/>
          <p:nvPr/>
        </p:nvSpPr>
        <p:spPr>
          <a:xfrm>
            <a:off x="403563" y="3252314"/>
            <a:ext cx="376467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762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altLang="ko-KR" sz="1400" b="1" dirty="0">
                <a:solidFill>
                  <a:prstClr val="black"/>
                </a:solidFill>
                <a:latin typeface="Plus Jakarta Sans" charset="0"/>
                <a:ea typeface="Plus Jakarta Sans" charset="0"/>
                <a:cs typeface="Plus Jakarta Sans" charset="0"/>
              </a:rPr>
              <a:t>DATA LPJK BARU – 29 JULI 2024 = 13.514 SBU</a:t>
            </a:r>
            <a:endParaRPr kumimoji="0" lang="fi-FI" altLang="ko-K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lus Jakarta Sans" charset="0"/>
              <a:ea typeface="Plus Jakarta Sans" charset="0"/>
              <a:cs typeface="Plus Jakarta Sans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8EEAE71-8CB4-8C3A-C102-12FBFD920EB1}"/>
              </a:ext>
            </a:extLst>
          </p:cNvPr>
          <p:cNvSpPr/>
          <p:nvPr/>
        </p:nvSpPr>
        <p:spPr>
          <a:xfrm>
            <a:off x="9314121" y="2747394"/>
            <a:ext cx="1064913" cy="30283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4E060A2B-86B7-C123-835D-FBC37C4846D8}"/>
              </a:ext>
            </a:extLst>
          </p:cNvPr>
          <p:cNvSpPr/>
          <p:nvPr/>
        </p:nvSpPr>
        <p:spPr>
          <a:xfrm>
            <a:off x="9314121" y="6282773"/>
            <a:ext cx="1064913" cy="30283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F98E4E6-6A6E-1998-B22A-04FB3BA85EFF}"/>
              </a:ext>
            </a:extLst>
          </p:cNvPr>
          <p:cNvSpPr/>
          <p:nvPr/>
        </p:nvSpPr>
        <p:spPr>
          <a:xfrm>
            <a:off x="9385373" y="5080741"/>
            <a:ext cx="1064913" cy="30283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1586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FBC31573-E3A6-D92D-D913-40988AB0F0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3972877"/>
              </p:ext>
            </p:extLst>
          </p:nvPr>
        </p:nvGraphicFramePr>
        <p:xfrm>
          <a:off x="834781" y="3960969"/>
          <a:ext cx="10522435" cy="1889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4487">
                  <a:extLst>
                    <a:ext uri="{9D8B030D-6E8A-4147-A177-3AD203B41FA5}">
                      <a16:colId xmlns:a16="http://schemas.microsoft.com/office/drawing/2014/main" val="1901301887"/>
                    </a:ext>
                  </a:extLst>
                </a:gridCol>
                <a:gridCol w="2104487">
                  <a:extLst>
                    <a:ext uri="{9D8B030D-6E8A-4147-A177-3AD203B41FA5}">
                      <a16:colId xmlns:a16="http://schemas.microsoft.com/office/drawing/2014/main" val="2732165686"/>
                    </a:ext>
                  </a:extLst>
                </a:gridCol>
                <a:gridCol w="2104487">
                  <a:extLst>
                    <a:ext uri="{9D8B030D-6E8A-4147-A177-3AD203B41FA5}">
                      <a16:colId xmlns:a16="http://schemas.microsoft.com/office/drawing/2014/main" val="3581217488"/>
                    </a:ext>
                  </a:extLst>
                </a:gridCol>
                <a:gridCol w="2104487">
                  <a:extLst>
                    <a:ext uri="{9D8B030D-6E8A-4147-A177-3AD203B41FA5}">
                      <a16:colId xmlns:a16="http://schemas.microsoft.com/office/drawing/2014/main" val="1948319687"/>
                    </a:ext>
                  </a:extLst>
                </a:gridCol>
                <a:gridCol w="2104487">
                  <a:extLst>
                    <a:ext uri="{9D8B030D-6E8A-4147-A177-3AD203B41FA5}">
                      <a16:colId xmlns:a16="http://schemas.microsoft.com/office/drawing/2014/main" val="3844095789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err="1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enis</a:t>
                      </a: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Usaha</a:t>
                      </a: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-----------</a:t>
                      </a:r>
                    </a:p>
                    <a:p>
                      <a:pPr algn="ctr"/>
                      <a:r>
                        <a:rPr lang="en-US" sz="1100" b="1" dirty="0" err="1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ualifikasi</a:t>
                      </a: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</a:p>
                  </a:txBody>
                  <a:tcPr anchor="ctr">
                    <a:solidFill>
                      <a:srgbClr val="174A9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ekerjaan Konstruksi</a:t>
                      </a:r>
                      <a:endParaRPr lang="en-ID" sz="1100" b="1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rgbClr val="174A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onsultansi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onstruksi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endParaRPr lang="en-ID" sz="1100" b="1" i="0" u="none" strike="noStrike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174A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onstruksi Terintegrasi</a:t>
                      </a:r>
                      <a:endParaRPr lang="en-ID" sz="1100" b="1" i="0" u="none" strike="noStrike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174A9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err="1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umlah</a:t>
                      </a: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Total</a:t>
                      </a:r>
                      <a:endParaRPr lang="en-ID" sz="1100" b="1" dirty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rgbClr val="174A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31487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esar</a:t>
                      </a:r>
                      <a:endParaRPr lang="en-ID" sz="110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325957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lang="en-US" sz="110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enengah</a:t>
                      </a:r>
                      <a:endParaRPr lang="en-ID" sz="110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7487017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cil</a:t>
                      </a:r>
                      <a:endParaRPr lang="en-ID" sz="110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.76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5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11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922843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lang="en-US" sz="110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pesialis</a:t>
                      </a:r>
                      <a:endParaRPr lang="en-ID" sz="110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75262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otal</a:t>
                      </a:r>
                      <a:endParaRPr lang="en-ID" sz="11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229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603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57454"/>
                  </a:ext>
                </a:extLst>
              </a:tr>
            </a:tbl>
          </a:graphicData>
        </a:graphic>
      </p:graphicFrame>
      <p:pic>
        <p:nvPicPr>
          <p:cNvPr id="3" name="Picture 2" descr="lgo sigap.png">
            <a:extLst>
              <a:ext uri="{FF2B5EF4-FFF2-40B4-BE49-F238E27FC236}">
                <a16:creationId xmlns:a16="http://schemas.microsoft.com/office/drawing/2014/main" id="{7A23DBBC-D240-9352-1F9B-4AB5A0F893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4" name="Round Same Side Corner Rectangle 1">
            <a:extLst>
              <a:ext uri="{FF2B5EF4-FFF2-40B4-BE49-F238E27FC236}">
                <a16:creationId xmlns:a16="http://schemas.microsoft.com/office/drawing/2014/main" id="{BF513B4C-AD45-E7A6-683F-95D4CE0101A0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EECFD81-BE8A-4921-3FD3-B2562D0A4C82}"/>
              </a:ext>
            </a:extLst>
          </p:cNvPr>
          <p:cNvSpPr txBox="1">
            <a:spLocks/>
          </p:cNvSpPr>
          <p:nvPr/>
        </p:nvSpPr>
        <p:spPr>
          <a:xfrm>
            <a:off x="328354" y="169726"/>
            <a:ext cx="69182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400" b="1" dirty="0">
                <a:solidFill>
                  <a:prstClr val="black"/>
                </a:solidFill>
                <a:latin typeface="Segoe UI"/>
              </a:rPr>
              <a:t>DATA BUJK </a:t>
            </a:r>
            <a:r>
              <a:rPr lang="fi-FI" sz="2400" dirty="0">
                <a:solidFill>
                  <a:prstClr val="black"/>
                </a:solidFill>
                <a:latin typeface="Segoe UI"/>
              </a:rPr>
              <a:t>PROVINSI KALIMANTAN TIMU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7C2A1CB-5952-15DA-82F2-EAA3A9A76C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9833230-D2FF-82F4-E93A-C033C88280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1724400"/>
              </p:ext>
            </p:extLst>
          </p:nvPr>
        </p:nvGraphicFramePr>
        <p:xfrm>
          <a:off x="834780" y="1315049"/>
          <a:ext cx="10522435" cy="1889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4487">
                  <a:extLst>
                    <a:ext uri="{9D8B030D-6E8A-4147-A177-3AD203B41FA5}">
                      <a16:colId xmlns:a16="http://schemas.microsoft.com/office/drawing/2014/main" val="1901301887"/>
                    </a:ext>
                  </a:extLst>
                </a:gridCol>
                <a:gridCol w="2104487">
                  <a:extLst>
                    <a:ext uri="{9D8B030D-6E8A-4147-A177-3AD203B41FA5}">
                      <a16:colId xmlns:a16="http://schemas.microsoft.com/office/drawing/2014/main" val="2732165686"/>
                    </a:ext>
                  </a:extLst>
                </a:gridCol>
                <a:gridCol w="2104487">
                  <a:extLst>
                    <a:ext uri="{9D8B030D-6E8A-4147-A177-3AD203B41FA5}">
                      <a16:colId xmlns:a16="http://schemas.microsoft.com/office/drawing/2014/main" val="3581217488"/>
                    </a:ext>
                  </a:extLst>
                </a:gridCol>
                <a:gridCol w="2104487">
                  <a:extLst>
                    <a:ext uri="{9D8B030D-6E8A-4147-A177-3AD203B41FA5}">
                      <a16:colId xmlns:a16="http://schemas.microsoft.com/office/drawing/2014/main" val="1948319687"/>
                    </a:ext>
                  </a:extLst>
                </a:gridCol>
                <a:gridCol w="2104487">
                  <a:extLst>
                    <a:ext uri="{9D8B030D-6E8A-4147-A177-3AD203B41FA5}">
                      <a16:colId xmlns:a16="http://schemas.microsoft.com/office/drawing/2014/main" val="3844095789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err="1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enis</a:t>
                      </a: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Usaha</a:t>
                      </a: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-----------</a:t>
                      </a:r>
                    </a:p>
                    <a:p>
                      <a:pPr algn="ctr"/>
                      <a:r>
                        <a:rPr lang="en-US" sz="1100" b="1" dirty="0" err="1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ualifikasi</a:t>
                      </a: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</a:p>
                  </a:txBody>
                  <a:tcPr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err="1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ekerjaan</a:t>
                      </a: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100" b="1" dirty="0" err="1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onstruksi</a:t>
                      </a:r>
                      <a:endParaRPr lang="en-ID" sz="1100" b="1" dirty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onsultansi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onstruksi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endParaRPr lang="en-ID" sz="1100" b="1" i="0" u="none" strike="noStrike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onstruksi Terintegrasi</a:t>
                      </a:r>
                      <a:endParaRPr lang="en-ID" sz="1100" b="1" i="0" u="none" strike="noStrike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err="1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umlah</a:t>
                      </a:r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Total</a:t>
                      </a:r>
                      <a:endParaRPr lang="en-ID" sz="1100" b="1" dirty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31487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esar</a:t>
                      </a:r>
                      <a:endParaRPr lang="en-ID" sz="110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325957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lang="en-US" sz="110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enengah</a:t>
                      </a:r>
                      <a:endParaRPr lang="en-ID" sz="110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3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5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7487017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cil</a:t>
                      </a:r>
                      <a:endParaRPr lang="en-ID" sz="110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35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62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922843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erorangan</a:t>
                      </a:r>
                      <a:endParaRPr lang="en-ID" sz="110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75262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otal</a:t>
                      </a:r>
                      <a:endParaRPr lang="en-ID" sz="11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.235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.525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57454"/>
                  </a:ext>
                </a:extLst>
              </a:tr>
            </a:tbl>
          </a:graphicData>
        </a:graphic>
      </p:graphicFrame>
      <p:sp>
        <p:nvSpPr>
          <p:cNvPr id="10" name="Oval 9">
            <a:extLst>
              <a:ext uri="{FF2B5EF4-FFF2-40B4-BE49-F238E27FC236}">
                <a16:creationId xmlns:a16="http://schemas.microsoft.com/office/drawing/2014/main" id="{FF473471-75FD-F881-D5F6-78EE38AA8D88}"/>
              </a:ext>
            </a:extLst>
          </p:cNvPr>
          <p:cNvSpPr/>
          <p:nvPr/>
        </p:nvSpPr>
        <p:spPr>
          <a:xfrm>
            <a:off x="9812885" y="2928179"/>
            <a:ext cx="1064913" cy="30283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9D8DCB5-D814-BBA3-563E-D67E9CEFB742}"/>
              </a:ext>
            </a:extLst>
          </p:cNvPr>
          <p:cNvSpPr/>
          <p:nvPr/>
        </p:nvSpPr>
        <p:spPr>
          <a:xfrm>
            <a:off x="9812884" y="5596825"/>
            <a:ext cx="1064913" cy="30283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4DCB625-622C-3E73-FEBD-05FAD5D8BB65}"/>
              </a:ext>
            </a:extLst>
          </p:cNvPr>
          <p:cNvSpPr/>
          <p:nvPr/>
        </p:nvSpPr>
        <p:spPr>
          <a:xfrm>
            <a:off x="712322" y="950796"/>
            <a:ext cx="426344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762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altLang="ko-KR" sz="1400" b="1" dirty="0">
                <a:solidFill>
                  <a:prstClr val="black"/>
                </a:solidFill>
                <a:latin typeface="Plus Jakarta Sans" charset="0"/>
                <a:ea typeface="Plus Jakarta Sans" charset="0"/>
                <a:cs typeface="Plus Jakarta Sans" charset="0"/>
              </a:rPr>
              <a:t>DATA LPJK LAMA – 31 DESEMBER 2020 = 4.525 BUJK</a:t>
            </a:r>
            <a:endParaRPr kumimoji="0" lang="fi-FI" altLang="ko-K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lus Jakarta Sans" charset="0"/>
              <a:ea typeface="Plus Jakarta Sans" charset="0"/>
              <a:cs typeface="Plus Jakarta Sans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FC808B3-0E29-935A-8723-8FB31FE0879A}"/>
              </a:ext>
            </a:extLst>
          </p:cNvPr>
          <p:cNvSpPr/>
          <p:nvPr/>
        </p:nvSpPr>
        <p:spPr>
          <a:xfrm>
            <a:off x="712322" y="3626984"/>
            <a:ext cx="426344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762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altLang="ko-KR" sz="1400" b="1" dirty="0">
                <a:solidFill>
                  <a:prstClr val="black"/>
                </a:solidFill>
                <a:latin typeface="Plus Jakarta Sans" charset="0"/>
                <a:ea typeface="Plus Jakarta Sans" charset="0"/>
                <a:cs typeface="Plus Jakarta Sans" charset="0"/>
              </a:rPr>
              <a:t>DATA LPJK BARU – 29 JULI 2024 = 3.603 BUJK</a:t>
            </a:r>
            <a:endParaRPr kumimoji="0" lang="fi-FI" altLang="ko-K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lus Jakarta Sans" charset="0"/>
              <a:ea typeface="Plus Jakarta Sans" charset="0"/>
              <a:cs typeface="Plus Jakarta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32336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84C083-1193-4B13-933D-5072DFF817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84C083-1193-4B13-933D-5072DFF81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765B72BB-505F-4F24-BA7B-8AA5F5168FF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62997" y="2410118"/>
            <a:ext cx="10914063" cy="3618129"/>
          </a:xfrm>
          <a:prstGeom prst="rect">
            <a:avLst/>
          </a:prstGeom>
        </p:spPr>
      </p:pic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0A391FF3-E47A-9345-981F-5896A7A5955D}"/>
              </a:ext>
            </a:extLst>
          </p:cNvPr>
          <p:cNvSpPr/>
          <p:nvPr/>
        </p:nvSpPr>
        <p:spPr>
          <a:xfrm>
            <a:off x="533400" y="1290979"/>
            <a:ext cx="1649963" cy="4047361"/>
          </a:xfrm>
          <a:prstGeom prst="roundRect">
            <a:avLst>
              <a:gd name="adj" fmla="val 29925"/>
            </a:avLst>
          </a:prstGeom>
          <a:solidFill>
            <a:schemeClr val="accent4">
              <a:alpha val="90000"/>
            </a:schemeClr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A0227665-CE4F-5945-A061-9F91EA070FF5}"/>
              </a:ext>
            </a:extLst>
          </p:cNvPr>
          <p:cNvSpPr/>
          <p:nvPr/>
        </p:nvSpPr>
        <p:spPr>
          <a:xfrm>
            <a:off x="533400" y="2412964"/>
            <a:ext cx="11658600" cy="3643263"/>
          </a:xfrm>
          <a:custGeom>
            <a:avLst/>
            <a:gdLst>
              <a:gd name="connsiteX0" fmla="*/ 493914 w 11658600"/>
              <a:gd name="connsiteY0" fmla="*/ 0 h 4380614"/>
              <a:gd name="connsiteX1" fmla="*/ 11658600 w 11658600"/>
              <a:gd name="connsiteY1" fmla="*/ 0 h 4380614"/>
              <a:gd name="connsiteX2" fmla="*/ 11658600 w 11658600"/>
              <a:gd name="connsiteY2" fmla="*/ 4380614 h 4380614"/>
              <a:gd name="connsiteX3" fmla="*/ 493914 w 11658600"/>
              <a:gd name="connsiteY3" fmla="*/ 4380614 h 4380614"/>
              <a:gd name="connsiteX4" fmla="*/ 0 w 11658600"/>
              <a:gd name="connsiteY4" fmla="*/ 3886700 h 4380614"/>
              <a:gd name="connsiteX5" fmla="*/ 0 w 11658600"/>
              <a:gd name="connsiteY5" fmla="*/ 493914 h 4380614"/>
              <a:gd name="connsiteX6" fmla="*/ 493914 w 11658600"/>
              <a:gd name="connsiteY6" fmla="*/ 0 h 4380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658600" h="4380614">
                <a:moveTo>
                  <a:pt x="493914" y="0"/>
                </a:moveTo>
                <a:lnTo>
                  <a:pt x="11658600" y="0"/>
                </a:lnTo>
                <a:lnTo>
                  <a:pt x="11658600" y="4380614"/>
                </a:lnTo>
                <a:lnTo>
                  <a:pt x="493914" y="4380614"/>
                </a:lnTo>
                <a:cubicBezTo>
                  <a:pt x="221133" y="4380614"/>
                  <a:pt x="0" y="4159481"/>
                  <a:pt x="0" y="3886700"/>
                </a:cubicBezTo>
                <a:lnTo>
                  <a:pt x="0" y="493914"/>
                </a:lnTo>
                <a:cubicBezTo>
                  <a:pt x="0" y="221133"/>
                  <a:pt x="221133" y="0"/>
                  <a:pt x="493914" y="0"/>
                </a:cubicBezTo>
                <a:close/>
              </a:path>
            </a:pathLst>
          </a:custGeom>
          <a:gradFill flip="none" rotWithShape="1">
            <a:gsLst>
              <a:gs pos="0">
                <a:srgbClr val="3F5559">
                  <a:alpha val="80000"/>
                </a:srgbClr>
              </a:gs>
              <a:gs pos="100000">
                <a:srgbClr val="818B8C">
                  <a:alpha val="8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EB0AEE-E93F-0844-AD15-92E8711CD5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8858" y="1555264"/>
            <a:ext cx="9135036" cy="730521"/>
          </a:xfrm>
        </p:spPr>
        <p:txBody>
          <a:bodyPr lIns="0" tIns="46800" rIns="0" bIns="0" anchor="ctr">
            <a:spAutoFit/>
          </a:bodyPr>
          <a:lstStyle/>
          <a:p>
            <a:r>
              <a:rPr lang="en-US" sz="4800" b="1">
                <a:latin typeface="Aharoni"/>
                <a:ea typeface="Roboto"/>
                <a:cs typeface="Roboto"/>
              </a:rPr>
              <a:t>OUTLINE</a:t>
            </a: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1838DDB7-E946-BE44-A921-21D9A3375F82}"/>
              </a:ext>
            </a:extLst>
          </p:cNvPr>
          <p:cNvSpPr/>
          <p:nvPr/>
        </p:nvSpPr>
        <p:spPr>
          <a:xfrm>
            <a:off x="533400" y="2423136"/>
            <a:ext cx="1657433" cy="3633091"/>
          </a:xfrm>
          <a:custGeom>
            <a:avLst/>
            <a:gdLst>
              <a:gd name="connsiteX0" fmla="*/ 493751 w 1649963"/>
              <a:gd name="connsiteY0" fmla="*/ 0 h 4380614"/>
              <a:gd name="connsiteX1" fmla="*/ 842211 w 1649963"/>
              <a:gd name="connsiteY1" fmla="*/ 0 h 4380614"/>
              <a:gd name="connsiteX2" fmla="*/ 1156212 w 1649963"/>
              <a:gd name="connsiteY2" fmla="*/ 0 h 4380614"/>
              <a:gd name="connsiteX3" fmla="*/ 1649963 w 1649963"/>
              <a:gd name="connsiteY3" fmla="*/ 0 h 4380614"/>
              <a:gd name="connsiteX4" fmla="*/ 1649963 w 1649963"/>
              <a:gd name="connsiteY4" fmla="*/ 493751 h 4380614"/>
              <a:gd name="connsiteX5" fmla="*/ 1649963 w 1649963"/>
              <a:gd name="connsiteY5" fmla="*/ 807752 h 4380614"/>
              <a:gd name="connsiteX6" fmla="*/ 1649963 w 1649963"/>
              <a:gd name="connsiteY6" fmla="*/ 3886863 h 4380614"/>
              <a:gd name="connsiteX7" fmla="*/ 1156212 w 1649963"/>
              <a:gd name="connsiteY7" fmla="*/ 4380614 h 4380614"/>
              <a:gd name="connsiteX8" fmla="*/ 493751 w 1649963"/>
              <a:gd name="connsiteY8" fmla="*/ 4380614 h 4380614"/>
              <a:gd name="connsiteX9" fmla="*/ 0 w 1649963"/>
              <a:gd name="connsiteY9" fmla="*/ 3886863 h 4380614"/>
              <a:gd name="connsiteX10" fmla="*/ 0 w 1649963"/>
              <a:gd name="connsiteY10" fmla="*/ 493751 h 4380614"/>
              <a:gd name="connsiteX11" fmla="*/ 493751 w 1649963"/>
              <a:gd name="connsiteY11" fmla="*/ 0 h 4380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649963" h="4380614">
                <a:moveTo>
                  <a:pt x="493751" y="0"/>
                </a:moveTo>
                <a:lnTo>
                  <a:pt x="842211" y="0"/>
                </a:lnTo>
                <a:lnTo>
                  <a:pt x="1156212" y="0"/>
                </a:lnTo>
                <a:lnTo>
                  <a:pt x="1649963" y="0"/>
                </a:lnTo>
                <a:lnTo>
                  <a:pt x="1649963" y="493751"/>
                </a:lnTo>
                <a:lnTo>
                  <a:pt x="1649963" y="807752"/>
                </a:lnTo>
                <a:lnTo>
                  <a:pt x="1649963" y="3886863"/>
                </a:lnTo>
                <a:cubicBezTo>
                  <a:pt x="1649963" y="4159554"/>
                  <a:pt x="1428903" y="4380614"/>
                  <a:pt x="1156212" y="4380614"/>
                </a:cubicBezTo>
                <a:lnTo>
                  <a:pt x="493751" y="4380614"/>
                </a:lnTo>
                <a:cubicBezTo>
                  <a:pt x="221060" y="4380614"/>
                  <a:pt x="0" y="4159554"/>
                  <a:pt x="0" y="3886863"/>
                </a:cubicBezTo>
                <a:lnTo>
                  <a:pt x="0" y="493751"/>
                </a:lnTo>
                <a:cubicBezTo>
                  <a:pt x="0" y="221060"/>
                  <a:pt x="221060" y="0"/>
                  <a:pt x="493751" y="0"/>
                </a:cubicBezTo>
                <a:close/>
              </a:path>
            </a:pathLst>
          </a:custGeom>
          <a:solidFill>
            <a:srgbClr val="F37404">
              <a:alpha val="90000"/>
            </a:srgbClr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177F80B-CF07-C14B-96FF-BE9F6D0107CE}"/>
              </a:ext>
            </a:extLst>
          </p:cNvPr>
          <p:cNvGrpSpPr/>
          <p:nvPr/>
        </p:nvGrpSpPr>
        <p:grpSpPr>
          <a:xfrm>
            <a:off x="1047125" y="1639212"/>
            <a:ext cx="551956" cy="557045"/>
            <a:chOff x="2684463" y="3619500"/>
            <a:chExt cx="344487" cy="347663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6B110359-2368-754B-A7CA-41C6D6621F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ABC7D57A-12EA-9440-911F-CDB10518F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7C7CE810-13F2-F548-88C5-980450896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Line 8">
              <a:extLst>
                <a:ext uri="{FF2B5EF4-FFF2-40B4-BE49-F238E27FC236}">
                  <a16:creationId xmlns:a16="http://schemas.microsoft.com/office/drawing/2014/main" id="{47CD9F8F-6207-4C4A-8731-B59972C12F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Line 9">
              <a:extLst>
                <a:ext uri="{FF2B5EF4-FFF2-40B4-BE49-F238E27FC236}">
                  <a16:creationId xmlns:a16="http://schemas.microsoft.com/office/drawing/2014/main" id="{E1C2451C-56B7-E64E-B737-9C9C5303C09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30638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Line 10">
              <a:extLst>
                <a:ext uri="{FF2B5EF4-FFF2-40B4-BE49-F238E27FC236}">
                  <a16:creationId xmlns:a16="http://schemas.microsoft.com/office/drawing/2014/main" id="{341CC1F7-8E97-9343-BFAF-EA6B039962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92AD1069-98B9-F542-A4DB-8EF04B9A53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740150"/>
              <a:ext cx="38100" cy="30163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4F2E2306-A022-B14E-B6BB-595EB56222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800475"/>
              <a:ext cx="38100" cy="30163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3378C9BD-D6EC-CE46-BFBB-F5DD404F09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Line 14">
              <a:extLst>
                <a:ext uri="{FF2B5EF4-FFF2-40B4-BE49-F238E27FC236}">
                  <a16:creationId xmlns:a16="http://schemas.microsoft.com/office/drawing/2014/main" id="{9B4589E6-F3B3-0B46-A8CC-B7D1F26C6A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Line 15">
              <a:extLst>
                <a:ext uri="{FF2B5EF4-FFF2-40B4-BE49-F238E27FC236}">
                  <a16:creationId xmlns:a16="http://schemas.microsoft.com/office/drawing/2014/main" id="{36659237-7FC3-AD4E-84EB-0089ADF636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830638"/>
              <a:ext cx="44450" cy="0"/>
            </a:xfrm>
            <a:prstGeom prst="line">
              <a:avLst/>
            </a:prstGeom>
            <a:noFill/>
            <a:ln w="285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902BD249-10D6-B844-B720-C00819CFB2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338" y="3717925"/>
              <a:ext cx="30163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8FEB0A8-5871-BA44-A5A0-D6358EF4F7E8}"/>
              </a:ext>
            </a:extLst>
          </p:cNvPr>
          <p:cNvCxnSpPr>
            <a:cxnSpLocks/>
          </p:cNvCxnSpPr>
          <p:nvPr/>
        </p:nvCxnSpPr>
        <p:spPr>
          <a:xfrm>
            <a:off x="1113905" y="3031932"/>
            <a:ext cx="9829078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2F1ED0C4-8AEA-3B45-9046-FA80AB1786A9}"/>
              </a:ext>
            </a:extLst>
          </p:cNvPr>
          <p:cNvSpPr txBox="1">
            <a:spLocks/>
          </p:cNvSpPr>
          <p:nvPr/>
        </p:nvSpPr>
        <p:spPr>
          <a:xfrm>
            <a:off x="2524856" y="4704170"/>
            <a:ext cx="8054789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dirty="0" err="1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Layanan</a:t>
            </a:r>
            <a:r>
              <a:rPr lang="en-US" sz="3600" dirty="0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 </a:t>
            </a:r>
            <a:r>
              <a:rPr lang="en-US" sz="3600" dirty="0" err="1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Lisensi</a:t>
            </a:r>
            <a:r>
              <a:rPr lang="en-US" sz="3600" dirty="0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 LSBU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C42077-D35E-D041-85CB-82D55E507F79}"/>
              </a:ext>
            </a:extLst>
          </p:cNvPr>
          <p:cNvSpPr txBox="1">
            <a:spLocks/>
          </p:cNvSpPr>
          <p:nvPr/>
        </p:nvSpPr>
        <p:spPr>
          <a:xfrm>
            <a:off x="928974" y="2461583"/>
            <a:ext cx="858815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1</a:t>
            </a:r>
            <a:endParaRPr lang="en-US" sz="40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BE48218-23C8-4C4A-BDA0-EB3D23C9227A}"/>
              </a:ext>
            </a:extLst>
          </p:cNvPr>
          <p:cNvSpPr txBox="1">
            <a:spLocks/>
          </p:cNvSpPr>
          <p:nvPr/>
        </p:nvSpPr>
        <p:spPr>
          <a:xfrm>
            <a:off x="928974" y="3167569"/>
            <a:ext cx="858815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2</a:t>
            </a:r>
            <a:endParaRPr lang="en-US" sz="40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81702FA-C09A-D243-A10F-779F38D51C05}"/>
              </a:ext>
            </a:extLst>
          </p:cNvPr>
          <p:cNvSpPr txBox="1">
            <a:spLocks/>
          </p:cNvSpPr>
          <p:nvPr/>
        </p:nvSpPr>
        <p:spPr>
          <a:xfrm>
            <a:off x="928974" y="3928340"/>
            <a:ext cx="858815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3</a:t>
            </a:r>
            <a:endParaRPr lang="en-US" sz="40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6C3F088B-07E9-F24B-8BAC-5B3929DFBF14}"/>
              </a:ext>
            </a:extLst>
          </p:cNvPr>
          <p:cNvCxnSpPr>
            <a:cxnSpLocks/>
          </p:cNvCxnSpPr>
          <p:nvPr/>
        </p:nvCxnSpPr>
        <p:spPr>
          <a:xfrm>
            <a:off x="1113905" y="3825126"/>
            <a:ext cx="9829078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FCF08B43-3FD0-1E45-B0BA-D8386E18F45C}"/>
              </a:ext>
            </a:extLst>
          </p:cNvPr>
          <p:cNvCxnSpPr>
            <a:cxnSpLocks/>
          </p:cNvCxnSpPr>
          <p:nvPr/>
        </p:nvCxnSpPr>
        <p:spPr>
          <a:xfrm>
            <a:off x="1113905" y="4549989"/>
            <a:ext cx="9829078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E2C3345-FCC9-FF4C-8799-FE473A9ABB8A}"/>
              </a:ext>
            </a:extLst>
          </p:cNvPr>
          <p:cNvCxnSpPr>
            <a:cxnSpLocks/>
          </p:cNvCxnSpPr>
          <p:nvPr/>
        </p:nvCxnSpPr>
        <p:spPr>
          <a:xfrm>
            <a:off x="1113905" y="5338340"/>
            <a:ext cx="9829078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itle 1">
            <a:extLst>
              <a:ext uri="{FF2B5EF4-FFF2-40B4-BE49-F238E27FC236}">
                <a16:creationId xmlns:a16="http://schemas.microsoft.com/office/drawing/2014/main" id="{ECD55B4D-D061-71C9-CE1F-4524BD17FB59}"/>
              </a:ext>
            </a:extLst>
          </p:cNvPr>
          <p:cNvSpPr txBox="1">
            <a:spLocks/>
          </p:cNvSpPr>
          <p:nvPr/>
        </p:nvSpPr>
        <p:spPr>
          <a:xfrm>
            <a:off x="893281" y="4656088"/>
            <a:ext cx="858815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i="1" dirty="0">
                <a:solidFill>
                  <a:srgbClr val="FFFFFF"/>
                </a:solidFill>
                <a:latin typeface="Roboto"/>
                <a:ea typeface="Roboto"/>
                <a:cs typeface="Roboto"/>
              </a:rPr>
              <a:t>4</a:t>
            </a:r>
            <a:endParaRPr lang="en-US" sz="40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</p:txBody>
      </p:sp>
      <p:pic>
        <p:nvPicPr>
          <p:cNvPr id="53" name="Picture 52" descr="Text, logo&#10;&#10;Description automatically generated">
            <a:extLst>
              <a:ext uri="{FF2B5EF4-FFF2-40B4-BE49-F238E27FC236}">
                <a16:creationId xmlns:a16="http://schemas.microsoft.com/office/drawing/2014/main" id="{6FD9A886-4CAB-E578-D932-0A64BBC781A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043" y="67678"/>
            <a:ext cx="1615921" cy="614684"/>
          </a:xfrm>
          <a:prstGeom prst="rect">
            <a:avLst/>
          </a:prstGeom>
        </p:spPr>
      </p:pic>
      <p:pic>
        <p:nvPicPr>
          <p:cNvPr id="70" name="Picture 30" descr="A black background with red and black text&#10;&#10;Description automatically generated">
            <a:extLst>
              <a:ext uri="{FF2B5EF4-FFF2-40B4-BE49-F238E27FC236}">
                <a16:creationId xmlns:a16="http://schemas.microsoft.com/office/drawing/2014/main" id="{952B8F65-5405-1988-2563-1EF85B8359AF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>
          <a:xfrm>
            <a:off x="1968133" y="-164396"/>
            <a:ext cx="1106668" cy="1106668"/>
          </a:xfrm>
          <a:prstGeom prst="rect">
            <a:avLst/>
          </a:prstGeom>
        </p:spPr>
      </p:pic>
      <p:pic>
        <p:nvPicPr>
          <p:cNvPr id="72" name="Picture 71" descr="lgo sigap.png">
            <a:extLst>
              <a:ext uri="{FF2B5EF4-FFF2-40B4-BE49-F238E27FC236}">
                <a16:creationId xmlns:a16="http://schemas.microsoft.com/office/drawing/2014/main" id="{A11BCC4B-590C-D6C7-4A2B-87BA116CD67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839D54BB-974A-956E-1E0C-B09EBE74BEE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939EB643-701A-649D-0FA4-F091B6A7AE13}"/>
              </a:ext>
            </a:extLst>
          </p:cNvPr>
          <p:cNvSpPr txBox="1">
            <a:spLocks/>
          </p:cNvSpPr>
          <p:nvPr/>
        </p:nvSpPr>
        <p:spPr>
          <a:xfrm>
            <a:off x="2481693" y="3958765"/>
            <a:ext cx="9986226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dirty="0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Data SBU, BUJK, TUK, &amp; </a:t>
            </a:r>
            <a:r>
              <a:rPr lang="en-US" sz="3600" dirty="0" err="1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Asosiasi</a:t>
            </a:r>
            <a:r>
              <a:rPr lang="en-US" sz="3600" dirty="0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 Prov </a:t>
            </a:r>
            <a:r>
              <a:rPr lang="en-US" sz="3600" dirty="0" err="1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Kaltim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9CFCEC5-0E7C-2815-9F26-A0B61ABB65DA}"/>
              </a:ext>
            </a:extLst>
          </p:cNvPr>
          <p:cNvCxnSpPr>
            <a:cxnSpLocks/>
          </p:cNvCxnSpPr>
          <p:nvPr/>
        </p:nvCxnSpPr>
        <p:spPr>
          <a:xfrm>
            <a:off x="1113905" y="6028247"/>
            <a:ext cx="9829078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39773FA8-2FF1-83D0-0889-96120D84BD3F}"/>
              </a:ext>
            </a:extLst>
          </p:cNvPr>
          <p:cNvSpPr txBox="1">
            <a:spLocks/>
          </p:cNvSpPr>
          <p:nvPr/>
        </p:nvSpPr>
        <p:spPr>
          <a:xfrm>
            <a:off x="869531" y="5416859"/>
            <a:ext cx="858815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5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0DB9F7B2-2ABC-37D7-1DEC-16066A567485}"/>
              </a:ext>
            </a:extLst>
          </p:cNvPr>
          <p:cNvSpPr txBox="1">
            <a:spLocks/>
          </p:cNvSpPr>
          <p:nvPr/>
        </p:nvSpPr>
        <p:spPr>
          <a:xfrm>
            <a:off x="2481693" y="3254618"/>
            <a:ext cx="6860936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dirty="0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Peran </a:t>
            </a:r>
            <a:r>
              <a:rPr lang="en-US" sz="3600" dirty="0" err="1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Asosiasi</a:t>
            </a:r>
            <a:r>
              <a:rPr lang="en-US" sz="3600" dirty="0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 Badan Usaha</a:t>
            </a:r>
            <a:endParaRPr lang="en-US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9A0127C9-D114-30F8-917D-38CB5D1D4680}"/>
              </a:ext>
            </a:extLst>
          </p:cNvPr>
          <p:cNvSpPr txBox="1">
            <a:spLocks/>
          </p:cNvSpPr>
          <p:nvPr/>
        </p:nvSpPr>
        <p:spPr>
          <a:xfrm>
            <a:off x="2481693" y="2497379"/>
            <a:ext cx="9561918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dirty="0" err="1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Perizinan</a:t>
            </a:r>
            <a:r>
              <a:rPr lang="en-US" sz="3600" dirty="0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 </a:t>
            </a:r>
            <a:r>
              <a:rPr lang="en-US" sz="3600" dirty="0" err="1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Berusaha</a:t>
            </a:r>
            <a:r>
              <a:rPr lang="en-US" sz="3600" dirty="0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 </a:t>
            </a:r>
            <a:r>
              <a:rPr lang="en-US" sz="3600" dirty="0" err="1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Subsektor</a:t>
            </a:r>
            <a:r>
              <a:rPr lang="en-US" sz="3600" dirty="0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 </a:t>
            </a:r>
            <a:r>
              <a:rPr lang="en-US" sz="3600" dirty="0" err="1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Konstruksi</a:t>
            </a:r>
            <a:endParaRPr lang="en-US" sz="3600" dirty="0">
              <a:solidFill>
                <a:srgbClr val="FFFFFF"/>
              </a:solidFill>
              <a:latin typeface="Roboto"/>
              <a:ea typeface="Roboto"/>
              <a:cs typeface="Segoe UI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0696F60-C1AA-BDDF-47E4-B172B854DCEB}"/>
              </a:ext>
            </a:extLst>
          </p:cNvPr>
          <p:cNvSpPr txBox="1">
            <a:spLocks/>
          </p:cNvSpPr>
          <p:nvPr/>
        </p:nvSpPr>
        <p:spPr>
          <a:xfrm>
            <a:off x="2481693" y="5440585"/>
            <a:ext cx="9986226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dirty="0" err="1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Tambah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16856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go sigap.png">
            <a:extLst>
              <a:ext uri="{FF2B5EF4-FFF2-40B4-BE49-F238E27FC236}">
                <a16:creationId xmlns:a16="http://schemas.microsoft.com/office/drawing/2014/main" id="{AEFD5EF9-1524-16DA-3821-9E5254EED2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4" name="Round Same Side Corner Rectangle 1">
            <a:extLst>
              <a:ext uri="{FF2B5EF4-FFF2-40B4-BE49-F238E27FC236}">
                <a16:creationId xmlns:a16="http://schemas.microsoft.com/office/drawing/2014/main" id="{A10A1A2B-5D8A-CF4B-9EB0-B372DC23170D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A2C9EA4-6D6F-738C-34C3-5F15677CF4DC}"/>
              </a:ext>
            </a:extLst>
          </p:cNvPr>
          <p:cNvSpPr txBox="1">
            <a:spLocks/>
          </p:cNvSpPr>
          <p:nvPr/>
        </p:nvSpPr>
        <p:spPr>
          <a:xfrm>
            <a:off x="328353" y="169726"/>
            <a:ext cx="8278618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400" b="1" dirty="0">
                <a:solidFill>
                  <a:prstClr val="black"/>
                </a:solidFill>
                <a:latin typeface="Segoe UI"/>
              </a:rPr>
              <a:t>DATA TEMPAT UJI KOMPETENSI (TUK)</a:t>
            </a:r>
          </a:p>
          <a:p>
            <a:pPr>
              <a:lnSpc>
                <a:spcPct val="100000"/>
              </a:lnSpc>
              <a:defRPr/>
            </a:pPr>
            <a:r>
              <a:rPr lang="fi-FI" sz="2400" dirty="0">
                <a:solidFill>
                  <a:prstClr val="black"/>
                </a:solidFill>
                <a:latin typeface="Segoe UI"/>
              </a:rPr>
              <a:t>PROVINSI KALIMANTAN TIMU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636EC74-C4C9-6E45-733C-D5678E98B0DD}"/>
              </a:ext>
            </a:extLst>
          </p:cNvPr>
          <p:cNvSpPr/>
          <p:nvPr/>
        </p:nvSpPr>
        <p:spPr>
          <a:xfrm>
            <a:off x="9353550" y="6457227"/>
            <a:ext cx="2838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762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Data </a:t>
            </a:r>
            <a:r>
              <a:rPr lang="fi-FI" altLang="ko-KR" sz="1100" b="1" dirty="0">
                <a:solidFill>
                  <a:prstClr val="black"/>
                </a:solidFill>
                <a:latin typeface="Plus Jakarta Sans" charset="0"/>
                <a:ea typeface="Plus Jakarta Sans" charset="0"/>
                <a:cs typeface="Plus Jakarta Sans" charset="0"/>
              </a:rPr>
              <a:t>LPJK</a:t>
            </a:r>
            <a:r>
              <a:rPr kumimoji="0" lang="fi-FI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 30 Juni 2024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5CE47AD-ACDA-B1F9-9F1B-8B86251F35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7320511"/>
              </p:ext>
            </p:extLst>
          </p:nvPr>
        </p:nvGraphicFramePr>
        <p:xfrm>
          <a:off x="1808726" y="1323382"/>
          <a:ext cx="8249674" cy="510654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09187">
                  <a:extLst>
                    <a:ext uri="{9D8B030D-6E8A-4147-A177-3AD203B41FA5}">
                      <a16:colId xmlns:a16="http://schemas.microsoft.com/office/drawing/2014/main" val="152021469"/>
                    </a:ext>
                  </a:extLst>
                </a:gridCol>
                <a:gridCol w="4778117">
                  <a:extLst>
                    <a:ext uri="{9D8B030D-6E8A-4147-A177-3AD203B41FA5}">
                      <a16:colId xmlns:a16="http://schemas.microsoft.com/office/drawing/2014/main" val="1797676124"/>
                    </a:ext>
                  </a:extLst>
                </a:gridCol>
                <a:gridCol w="658063">
                  <a:extLst>
                    <a:ext uri="{9D8B030D-6E8A-4147-A177-3AD203B41FA5}">
                      <a16:colId xmlns:a16="http://schemas.microsoft.com/office/drawing/2014/main" val="2495689550"/>
                    </a:ext>
                  </a:extLst>
                </a:gridCol>
                <a:gridCol w="977872">
                  <a:extLst>
                    <a:ext uri="{9D8B030D-6E8A-4147-A177-3AD203B41FA5}">
                      <a16:colId xmlns:a16="http://schemas.microsoft.com/office/drawing/2014/main" val="2077878837"/>
                    </a:ext>
                  </a:extLst>
                </a:gridCol>
                <a:gridCol w="1126435">
                  <a:extLst>
                    <a:ext uri="{9D8B030D-6E8A-4147-A177-3AD203B41FA5}">
                      <a16:colId xmlns:a16="http://schemas.microsoft.com/office/drawing/2014/main" val="4019763513"/>
                    </a:ext>
                  </a:extLst>
                </a:gridCol>
              </a:tblGrid>
              <a:tr h="161161"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ID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DM Sans" pitchFamily="2" charset="77"/>
                        </a:rPr>
                        <a:t>NO</a:t>
                      </a:r>
                    </a:p>
                  </a:txBody>
                  <a:tcPr marL="8058" marR="8058" marT="8058" marB="0" anchor="ctr">
                    <a:solidFill>
                      <a:srgbClr val="174A9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ID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DM Sans" pitchFamily="2" charset="77"/>
                        </a:rPr>
                        <a:t>NAMA LSP</a:t>
                      </a:r>
                    </a:p>
                  </a:txBody>
                  <a:tcPr marL="8058" marR="8058" marT="8058" marB="0" anchor="ctr">
                    <a:solidFill>
                      <a:srgbClr val="174A9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D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DM Sans" pitchFamily="2" charset="77"/>
                        </a:rPr>
                        <a:t>JENIS TUK</a:t>
                      </a:r>
                    </a:p>
                  </a:txBody>
                  <a:tcPr marL="8058" marR="8058" marT="8058" marB="0" anchor="b">
                    <a:solidFill>
                      <a:srgbClr val="174A9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ID" sz="9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D9E1F2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en-ID" sz="1100" b="1" u="none" strike="noStrike" dirty="0">
                          <a:solidFill>
                            <a:schemeClr val="bg1"/>
                          </a:solidFill>
                          <a:effectLst/>
                          <a:latin typeface="DM Sans" pitchFamily="2" charset="77"/>
                        </a:rPr>
                        <a:t>TOTAL</a:t>
                      </a:r>
                      <a:endParaRPr lang="en-ID" sz="1100" b="1" i="0" u="none" strike="noStrike" dirty="0">
                        <a:solidFill>
                          <a:schemeClr val="bg1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ctr">
                    <a:solidFill>
                      <a:srgbClr val="174A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463027"/>
                  </a:ext>
                </a:extLst>
              </a:tr>
              <a:tr h="16116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b"/>
                      <a:endParaRPr lang="en-ID" sz="9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D9E1F2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1" u="none" strike="noStrike" dirty="0">
                          <a:solidFill>
                            <a:schemeClr val="bg1"/>
                          </a:solidFill>
                          <a:effectLst/>
                          <a:latin typeface="DM Sans" pitchFamily="2" charset="77"/>
                        </a:rPr>
                        <a:t>MANDIRI</a:t>
                      </a:r>
                      <a:endParaRPr lang="en-ID" sz="1100" b="1" i="0" u="none" strike="noStrike" dirty="0">
                        <a:solidFill>
                          <a:schemeClr val="bg1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ctr">
                    <a:solidFill>
                      <a:srgbClr val="174A9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1" u="none" strike="noStrike" dirty="0">
                          <a:solidFill>
                            <a:schemeClr val="bg1"/>
                          </a:solidFill>
                          <a:effectLst/>
                          <a:latin typeface="DM Sans" pitchFamily="2" charset="77"/>
                        </a:rPr>
                        <a:t>SEWAKTU</a:t>
                      </a:r>
                      <a:endParaRPr lang="en-ID" sz="1100" b="1" i="0" u="none" strike="noStrike" dirty="0">
                        <a:solidFill>
                          <a:schemeClr val="bg1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ctr">
                    <a:solidFill>
                      <a:srgbClr val="174A9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62007516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AHLI STRUKTUR BANGUNAN SIPIL INDONESIA (ASBSI)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1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1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1686114812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2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BINA KONSTRUKSI NUSANTARA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25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25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3606055297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3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 dirty="0" err="1">
                          <a:effectLst/>
                          <a:latin typeface="DM Sans" pitchFamily="2" charset="77"/>
                        </a:rPr>
                        <a:t>Infrastruktur</a:t>
                      </a:r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 Jalan dan </a:t>
                      </a:r>
                      <a:r>
                        <a:rPr lang="en-ID" sz="1100" u="none" strike="noStrike" dirty="0" err="1">
                          <a:effectLst/>
                          <a:latin typeface="DM Sans" pitchFamily="2" charset="77"/>
                        </a:rPr>
                        <a:t>Jembatan</a:t>
                      </a:r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 Indonesia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1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1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3016358982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4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 dirty="0" err="1">
                          <a:effectLst/>
                          <a:latin typeface="DM Sans" pitchFamily="2" charset="77"/>
                        </a:rPr>
                        <a:t>Kompetensi</a:t>
                      </a:r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 </a:t>
                      </a:r>
                      <a:r>
                        <a:rPr lang="en-ID" sz="1100" u="none" strike="noStrike" dirty="0" err="1">
                          <a:effectLst/>
                          <a:latin typeface="DM Sans" pitchFamily="2" charset="77"/>
                        </a:rPr>
                        <a:t>Konstruksi</a:t>
                      </a:r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 </a:t>
                      </a:r>
                      <a:r>
                        <a:rPr lang="en-ID" sz="1100" u="none" strike="noStrike" dirty="0" err="1">
                          <a:effectLst/>
                          <a:latin typeface="DM Sans" pitchFamily="2" charset="77"/>
                        </a:rPr>
                        <a:t>Mandiri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4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4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533452335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5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Konstruksi Pertapin Raya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1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1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1293499992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6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Lembaga Sertifikasi Profesi WIKA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641791524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7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LSP ASTEKINDO KONSTRUKSI MANDIRI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3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63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66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2000167451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8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LSP Gataki Konstruksi Mandiri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1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22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23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3492933539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9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LSP GATENSI KARYA KONSTRUKSI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1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9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10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1758000162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0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LSP HATSINDO INDONESIA TEKNIK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4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4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2016121554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1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LSP K3 Konstruksi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1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1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2250320421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2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LSP KESELAMATAN KESEHATAN KERJA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7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7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2142538199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3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 dirty="0" err="1">
                          <a:effectLst/>
                          <a:latin typeface="DM Sans" pitchFamily="2" charset="77"/>
                        </a:rPr>
                        <a:t>Lsp</a:t>
                      </a:r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 </a:t>
                      </a:r>
                      <a:r>
                        <a:rPr lang="en-ID" sz="1100" u="none" strike="noStrike" dirty="0" err="1">
                          <a:effectLst/>
                          <a:latin typeface="DM Sans" pitchFamily="2" charset="77"/>
                        </a:rPr>
                        <a:t>Kompetensi</a:t>
                      </a:r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 </a:t>
                      </a:r>
                      <a:r>
                        <a:rPr lang="en-ID" sz="1100" u="none" strike="noStrike" dirty="0" err="1">
                          <a:effectLst/>
                          <a:latin typeface="DM Sans" pitchFamily="2" charset="77"/>
                        </a:rPr>
                        <a:t>Penunjang</a:t>
                      </a:r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 </a:t>
                      </a:r>
                      <a:r>
                        <a:rPr lang="en-ID" sz="1100" u="none" strike="noStrike" dirty="0" err="1">
                          <a:effectLst/>
                          <a:latin typeface="DM Sans" pitchFamily="2" charset="77"/>
                        </a:rPr>
                        <a:t>Konstruksi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4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4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3215179781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4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LSP LPK Citra Sertifikasi Mandiri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4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4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2381393300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5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LSP LPK PT. </a:t>
                      </a:r>
                      <a:r>
                        <a:rPr lang="en-ID" sz="1100" u="none" strike="noStrike" dirty="0" err="1">
                          <a:effectLst/>
                          <a:latin typeface="DM Sans" pitchFamily="2" charset="77"/>
                        </a:rPr>
                        <a:t>Edukasi</a:t>
                      </a:r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 </a:t>
                      </a:r>
                      <a:r>
                        <a:rPr lang="en-ID" sz="1100" u="none" strike="noStrike" dirty="0" err="1">
                          <a:effectLst/>
                          <a:latin typeface="DM Sans" pitchFamily="2" charset="77"/>
                        </a:rPr>
                        <a:t>Reksa</a:t>
                      </a:r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 </a:t>
                      </a:r>
                      <a:r>
                        <a:rPr lang="en-ID" sz="1100" u="none" strike="noStrike" dirty="0" err="1">
                          <a:effectLst/>
                          <a:latin typeface="DM Sans" pitchFamily="2" charset="77"/>
                        </a:rPr>
                        <a:t>Manajemen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9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9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2874636893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6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LSP LPK Pusat </a:t>
                      </a:r>
                      <a:r>
                        <a:rPr lang="en-ID" sz="1100" u="none" strike="noStrike" dirty="0" err="1">
                          <a:effectLst/>
                          <a:latin typeface="DM Sans" pitchFamily="2" charset="77"/>
                        </a:rPr>
                        <a:t>Pembinaan</a:t>
                      </a:r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 </a:t>
                      </a:r>
                      <a:r>
                        <a:rPr lang="en-ID" sz="1100" u="none" strike="noStrike" dirty="0" err="1">
                          <a:effectLst/>
                          <a:latin typeface="DM Sans" pitchFamily="2" charset="77"/>
                        </a:rPr>
                        <a:t>Pelatihan</a:t>
                      </a:r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 dan </a:t>
                      </a:r>
                      <a:r>
                        <a:rPr lang="en-ID" sz="1100" u="none" strike="noStrike" dirty="0" err="1">
                          <a:effectLst/>
                          <a:latin typeface="DM Sans" pitchFamily="2" charset="77"/>
                        </a:rPr>
                        <a:t>Sertifikasi</a:t>
                      </a:r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 </a:t>
                      </a:r>
                      <a:r>
                        <a:rPr lang="en-ID" sz="1100" u="none" strike="noStrike" dirty="0" err="1">
                          <a:effectLst/>
                          <a:latin typeface="DM Sans" pitchFamily="2" charset="77"/>
                        </a:rPr>
                        <a:t>Mandiri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4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4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1465630512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7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LSP LPK Tenaga Kerja Konstruksi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4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1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5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2898299452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8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LSP P1 SMK NEGERI 3 PENAJAM PASER UTARA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1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1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2968269710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19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LSP </a:t>
                      </a:r>
                      <a:r>
                        <a:rPr lang="en-ID" sz="1100" u="none" strike="noStrike" dirty="0" err="1">
                          <a:effectLst/>
                          <a:latin typeface="DM Sans" pitchFamily="2" charset="77"/>
                        </a:rPr>
                        <a:t>Petakindo</a:t>
                      </a:r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 </a:t>
                      </a:r>
                      <a:r>
                        <a:rPr lang="en-ID" sz="1100" u="none" strike="noStrike" dirty="0" err="1">
                          <a:effectLst/>
                          <a:latin typeface="DM Sans" pitchFamily="2" charset="77"/>
                        </a:rPr>
                        <a:t>Konstruksi</a:t>
                      </a:r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 </a:t>
                      </a:r>
                      <a:r>
                        <a:rPr lang="en-ID" sz="1100" u="none" strike="noStrike" dirty="0" err="1">
                          <a:effectLst/>
                          <a:latin typeface="DM Sans" pitchFamily="2" charset="77"/>
                        </a:rPr>
                        <a:t>Mandiri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2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11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13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972197333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20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LSP Sertifikasi Konstruksi Teknik IAKI (LSP SAKTI)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3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3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3033010435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21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LSP SUMBER DAYA MANUSIA KONSTRUKSI INDONESIA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1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1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3870711431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22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LSP Tenaga Konstruksi Nasional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4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2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6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683503706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23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 dirty="0" err="1">
                          <a:effectLst/>
                          <a:latin typeface="DM Sans" pitchFamily="2" charset="77"/>
                        </a:rPr>
                        <a:t>Perencanaan</a:t>
                      </a:r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 Wilayah dan Kota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2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2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3801947607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24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PT LSP PERTAHKINDO </a:t>
                      </a:r>
                      <a:r>
                        <a:rPr lang="en-ID" sz="1100" u="none" strike="noStrike" dirty="0" err="1">
                          <a:effectLst/>
                          <a:latin typeface="DM Sans" pitchFamily="2" charset="77"/>
                        </a:rPr>
                        <a:t>Konstruksi</a:t>
                      </a:r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 Nasional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1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1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3275462111"/>
                  </a:ext>
                </a:extLst>
              </a:tr>
              <a:tr h="161161"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77"/>
                        </a:rPr>
                        <a:t>25</a:t>
                      </a: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PT. ATAKI KONSTRUKSI INDONESIA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>
                          <a:effectLst/>
                          <a:latin typeface="DM Sans" pitchFamily="2" charset="77"/>
                        </a:rPr>
                        <a:t>16</a:t>
                      </a:r>
                      <a:endParaRPr lang="en-ID" sz="1100" b="0" i="0" u="none" strike="noStrike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u="none" strike="noStrike" dirty="0">
                          <a:effectLst/>
                          <a:latin typeface="DM Sans" pitchFamily="2" charset="77"/>
                        </a:rPr>
                        <a:t>16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b"/>
                </a:tc>
                <a:extLst>
                  <a:ext uri="{0D108BD9-81ED-4DB2-BD59-A6C34878D82A}">
                    <a16:rowId xmlns:a16="http://schemas.microsoft.com/office/drawing/2014/main" val="2275288032"/>
                  </a:ext>
                </a:extLst>
              </a:tr>
              <a:tr h="362696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ID" sz="1100" b="1" u="none" strike="noStrike" dirty="0">
                          <a:solidFill>
                            <a:schemeClr val="tx1"/>
                          </a:solidFill>
                          <a:effectLst/>
                          <a:latin typeface="DM Sans" pitchFamily="2" charset="77"/>
                        </a:rPr>
                        <a:t>Grand Total</a:t>
                      </a:r>
                      <a:endParaRPr lang="en-ID" sz="1100" b="1" i="0" u="none" strike="noStrike" dirty="0">
                        <a:solidFill>
                          <a:schemeClr val="tx1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8058" marR="8058" marT="8058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1" u="none" strike="noStrike">
                          <a:solidFill>
                            <a:schemeClr val="tx1"/>
                          </a:solidFill>
                          <a:effectLst/>
                          <a:latin typeface="DM Sans" pitchFamily="2" charset="77"/>
                        </a:rPr>
                        <a:t>32</a:t>
                      </a:r>
                      <a:endParaRPr lang="en-ID" sz="1100" b="1" i="0" u="none" strike="noStrike">
                        <a:solidFill>
                          <a:schemeClr val="tx1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1" u="none" strike="noStrike">
                          <a:solidFill>
                            <a:schemeClr val="tx1"/>
                          </a:solidFill>
                          <a:effectLst/>
                          <a:latin typeface="DM Sans" pitchFamily="2" charset="77"/>
                        </a:rPr>
                        <a:t>180</a:t>
                      </a:r>
                      <a:endParaRPr lang="en-ID" sz="1100" b="1" i="0" u="none" strike="noStrike">
                        <a:solidFill>
                          <a:schemeClr val="tx1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100" b="1" u="none" strike="noStrike" dirty="0">
                          <a:solidFill>
                            <a:schemeClr val="tx1"/>
                          </a:solidFill>
                          <a:effectLst/>
                          <a:latin typeface="DM Sans" pitchFamily="2" charset="77"/>
                        </a:rPr>
                        <a:t>212</a:t>
                      </a:r>
                      <a:endParaRPr lang="en-ID" sz="1100" b="1" i="0" u="none" strike="noStrike" dirty="0">
                        <a:solidFill>
                          <a:schemeClr val="tx1"/>
                        </a:solidFill>
                        <a:effectLst/>
                        <a:latin typeface="DM Sans" pitchFamily="2" charset="77"/>
                      </a:endParaRPr>
                    </a:p>
                  </a:txBody>
                  <a:tcPr marL="8058" marR="8058" marT="8058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1552969"/>
                  </a:ext>
                </a:extLst>
              </a:tr>
            </a:tbl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044973E7-9FCC-B849-7EEB-8DF2E34583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143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C80B5C-DB18-8E44-038A-26470A5CBD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115A01BB-A77C-E015-AC29-7283FD0CAB4D}"/>
              </a:ext>
            </a:extLst>
          </p:cNvPr>
          <p:cNvGrpSpPr/>
          <p:nvPr/>
        </p:nvGrpSpPr>
        <p:grpSpPr>
          <a:xfrm>
            <a:off x="11088547" y="220925"/>
            <a:ext cx="948777" cy="183509"/>
            <a:chOff x="692631" y="1073281"/>
            <a:chExt cx="2497833" cy="483124"/>
          </a:xfrm>
        </p:grpSpPr>
        <p:pic>
          <p:nvPicPr>
            <p:cNvPr id="4" name="Picture 3" descr="Text, logo&#10;&#10;Description automatically generated">
              <a:extLst>
                <a:ext uri="{FF2B5EF4-FFF2-40B4-BE49-F238E27FC236}">
                  <a16:creationId xmlns:a16="http://schemas.microsoft.com/office/drawing/2014/main" id="{C3E35F0E-09A6-DFA1-D52C-9A3D4CC4DF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631" y="1073281"/>
              <a:ext cx="1270067" cy="483124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3275299-FA35-FA22-4F13-8FAD46B173F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06842" y="1126528"/>
              <a:ext cx="983622" cy="429877"/>
            </a:xfrm>
            <a:prstGeom prst="rect">
              <a:avLst/>
            </a:prstGeom>
          </p:spPr>
        </p:pic>
      </p:grpSp>
      <p:graphicFrame>
        <p:nvGraphicFramePr>
          <p:cNvPr id="25" name="Table 4">
            <a:extLst>
              <a:ext uri="{FF2B5EF4-FFF2-40B4-BE49-F238E27FC236}">
                <a16:creationId xmlns:a16="http://schemas.microsoft.com/office/drawing/2014/main" id="{8AC7464D-B1B3-02D0-8A8C-2BBC7E1102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9071637"/>
              </p:ext>
            </p:extLst>
          </p:nvPr>
        </p:nvGraphicFramePr>
        <p:xfrm>
          <a:off x="387666" y="1486058"/>
          <a:ext cx="11416668" cy="4634085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695490">
                  <a:extLst>
                    <a:ext uri="{9D8B030D-6E8A-4147-A177-3AD203B41FA5}">
                      <a16:colId xmlns:a16="http://schemas.microsoft.com/office/drawing/2014/main" val="2895276044"/>
                    </a:ext>
                  </a:extLst>
                </a:gridCol>
                <a:gridCol w="5721178">
                  <a:extLst>
                    <a:ext uri="{9D8B030D-6E8A-4147-A177-3AD203B41FA5}">
                      <a16:colId xmlns:a16="http://schemas.microsoft.com/office/drawing/2014/main" val="3186941341"/>
                    </a:ext>
                  </a:extLst>
                </a:gridCol>
              </a:tblGrid>
              <a:tr h="336405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err="1">
                          <a:latin typeface="DM Sans" pitchFamily="2" charset="0"/>
                        </a:rPr>
                        <a:t>Asosiasi</a:t>
                      </a:r>
                      <a:r>
                        <a:rPr lang="en-US" sz="1400" b="1" dirty="0">
                          <a:latin typeface="DM Sans" pitchFamily="2" charset="0"/>
                        </a:rPr>
                        <a:t> </a:t>
                      </a:r>
                      <a:r>
                        <a:rPr lang="en-US" sz="1400" b="1" dirty="0" err="1">
                          <a:latin typeface="DM Sans" pitchFamily="2" charset="0"/>
                        </a:rPr>
                        <a:t>Profesi</a:t>
                      </a:r>
                      <a:r>
                        <a:rPr lang="en-US" sz="1400" b="1" dirty="0">
                          <a:latin typeface="DM Sans" pitchFamily="2" charset="0"/>
                        </a:rPr>
                        <a:t> (LPJK Lama)</a:t>
                      </a:r>
                      <a:endParaRPr sz="1400" b="1" dirty="0">
                        <a:latin typeface="DM Sans" pitchFamily="2" charset="0"/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4A9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err="1">
                          <a:latin typeface="DM Sans" pitchFamily="2" charset="0"/>
                        </a:rPr>
                        <a:t>Asosiasi</a:t>
                      </a:r>
                      <a:r>
                        <a:rPr lang="en-US" sz="1400" b="1" dirty="0">
                          <a:latin typeface="DM Sans" pitchFamily="2" charset="0"/>
                        </a:rPr>
                        <a:t> </a:t>
                      </a:r>
                      <a:r>
                        <a:rPr lang="en-US" sz="1400" b="1" dirty="0" err="1">
                          <a:latin typeface="DM Sans" pitchFamily="2" charset="0"/>
                        </a:rPr>
                        <a:t>Profesi</a:t>
                      </a:r>
                      <a:r>
                        <a:rPr lang="en-US" sz="1400" b="1" dirty="0">
                          <a:latin typeface="DM Sans" pitchFamily="2" charset="0"/>
                        </a:rPr>
                        <a:t> (LPJK Baru)</a:t>
                      </a:r>
                      <a:endParaRPr sz="1400" b="1" dirty="0">
                        <a:latin typeface="DM Sans" pitchFamily="2" charset="0"/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4A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9305033"/>
                  </a:ext>
                </a:extLst>
              </a:tr>
              <a:tr h="2112281">
                <a:tc>
                  <a:txBody>
                    <a:bodyPr/>
                    <a:lstStyle/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Asosiasi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Ahli K3 </a:t>
                      </a: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Konstruksi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- Indonesia </a:t>
                      </a:r>
                      <a:r>
                        <a:rPr lang="en-ID" sz="1200" b="1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(A2K4-Indonesia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Asosias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Profesionalis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Elektrikal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-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Mekanikal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1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APEI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Asosias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Profes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Tenaga Ahli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Konstruks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1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APTAKINDO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Asosias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Tenaga Ahli Dan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Terampil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Konstruks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1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APTAKSINDO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Asosiasi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Sumber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Daya </a:t>
                      </a: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Manusia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Konstruksi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1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(ASDAMKINDO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Asosias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Tenaga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Tekhnik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Konstruks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1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ASTEKINDO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Asosiasi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Tenaga Teknik Ahli Dan </a:t>
                      </a: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Terampil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1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(ASTTATINDO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Asosiasi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Tenaga Teknik Indonesia </a:t>
                      </a:r>
                      <a:r>
                        <a:rPr lang="en-ID" sz="1200" b="1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(ASTTI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Asosiasi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Tenaga Ahli </a:t>
                      </a: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Konstruksi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1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(ATAKI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Asosiasi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Tenaga Ahli </a:t>
                      </a: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Konstruksi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Nasional </a:t>
                      </a:r>
                      <a:r>
                        <a:rPr lang="en-ID" sz="1200" b="1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(ATAKNAS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Asosiasi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Tenaga Ahli </a:t>
                      </a: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Konstruksi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Seluruh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1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(ATAKSI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Asosias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Tenaga Ahli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Pemborong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1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ATAPI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Gabungan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Tenaga Ahli Dan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Terampil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Konstrusk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1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GATAKI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Gabungan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Ahli Teknik Nasional Indonesia </a:t>
                      </a:r>
                      <a:r>
                        <a:rPr lang="en-ID" sz="1200" b="1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(GATENSI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Gabungan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Tenaga Teknik Indonesia </a:t>
                      </a:r>
                      <a:r>
                        <a:rPr lang="en-ID" sz="1200" b="1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GATTINDO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Himpunan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Ahli Teknik </a:t>
                      </a: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Konstruksi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1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(HATSINDO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Himpunan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Profes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Tenaga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Konstruks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1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HIPTASI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Himpunan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Pengembangan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Jalan Indonesia </a:t>
                      </a:r>
                      <a:r>
                        <a:rPr lang="en-ID" sz="1200" b="1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(HPJI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Ikatan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Arsitek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1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(IAI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Ikatan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Ahli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Konstruks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1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IAKI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Ikatan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Nasional Tenaga Ahli </a:t>
                      </a: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Konsultan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1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(INTAKINDO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Perkumpulan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Tenaga Ahli </a:t>
                      </a:r>
                      <a:r>
                        <a:rPr lang="en-ID" sz="1200" kern="1200" dirty="0" err="1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Profesional</a:t>
                      </a:r>
                      <a:r>
                        <a:rPr lang="en-ID" sz="1200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1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(PERTAPIN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en-ID" sz="1200" kern="1200" dirty="0" err="1">
                        <a:solidFill>
                          <a:schemeClr val="dk1"/>
                        </a:solidFill>
                        <a:effectLst/>
                        <a:latin typeface="DM Sans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Perkumpulan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Ahli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Keselamatan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Konstruks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Indonesia</a:t>
                      </a:r>
                      <a:r>
                        <a:rPr lang="en-ID" sz="1200" b="1" u="none" strike="noStrike" kern="1200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 (</a:t>
                      </a:r>
                      <a:r>
                        <a:rPr lang="en-ID" sz="1200" b="1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PAKKI)                              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Asosias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Sumber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Daya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Manusia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Konstruks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</a:t>
                      </a:r>
                      <a:r>
                        <a:rPr lang="en-ID" sz="1200" b="1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ASDAMKINDO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Asosias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Tenaga Ahli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Konstruks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</a:t>
                      </a:r>
                      <a:r>
                        <a:rPr lang="en-ID" sz="1200" b="1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ATAKI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Asosias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Tenaga Ahli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Konstruks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Seluruh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</a:t>
                      </a:r>
                      <a:r>
                        <a:rPr lang="en-ID" sz="1200" b="1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ATAKSI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Asosias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Tenaga Teknik Ahli Dan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Terampil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</a:t>
                      </a:r>
                      <a:r>
                        <a:rPr lang="en-ID" sz="1200" b="1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ASTTATINDO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Asosias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Tenaga Teknik Indonesia </a:t>
                      </a:r>
                      <a:r>
                        <a:rPr lang="en-ID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</a:t>
                      </a:r>
                      <a:r>
                        <a:rPr lang="en-ID" sz="1200" b="1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ASTTI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Himpunan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Ahli Teknik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Konstruks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</a:t>
                      </a:r>
                      <a:r>
                        <a:rPr lang="en-ID" sz="1200" b="1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HATSINDO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Himpunan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Pengembangan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Jalan Indonesia </a:t>
                      </a:r>
                      <a:r>
                        <a:rPr lang="en-ID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</a:t>
                      </a:r>
                      <a:r>
                        <a:rPr lang="en-ID" sz="1200" b="1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HPJI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Ikatan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Arsitek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1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</a:t>
                      </a:r>
                      <a:r>
                        <a:rPr lang="en-ID" sz="1200" b="1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IAI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Ikatan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Nasional Tenaga Ahli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Konsultan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</a:t>
                      </a:r>
                      <a:r>
                        <a:rPr lang="en-ID" sz="1200" b="1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INTAKINDO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Asosias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Tenaga Ahli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Konstruksi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Nasional </a:t>
                      </a:r>
                      <a:r>
                        <a:rPr lang="en-ID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</a:t>
                      </a:r>
                      <a:r>
                        <a:rPr lang="en-ID" sz="1200" b="1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ATAKNAS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Gabungan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Ahli Teknik Nasional </a:t>
                      </a:r>
                      <a:r>
                        <a:rPr lang="en-ID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</a:t>
                      </a:r>
                      <a:r>
                        <a:rPr lang="en-ID" sz="1200" b="1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GATENSI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Ikatan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Ahli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Perencanaan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</a:t>
                      </a:r>
                      <a:r>
                        <a:rPr lang="en-ID" sz="1200" b="1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IAP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Perkumpulan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Tenaga Ahli </a:t>
                      </a:r>
                      <a:r>
                        <a:rPr lang="en-ID" sz="12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Profesional</a:t>
                      </a:r>
                      <a:r>
                        <a:rPr lang="en-ID" sz="12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</a:t>
                      </a:r>
                      <a:r>
                        <a:rPr lang="en-ID" sz="1200" b="1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PERTAPIN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en-ID" sz="1200" b="1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0"/>
                      </a:endParaRP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en-ID" sz="1200" b="1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0"/>
                      </a:endParaRP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en-ID" sz="1200" b="1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0"/>
                      </a:endParaRP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en-ID" sz="1200" b="1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0"/>
                      </a:endParaRP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en-ID" sz="1200" b="1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0"/>
                      </a:endParaRP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en-ID" sz="1200" b="1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0"/>
                      </a:endParaRP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en-ID" sz="1200" b="1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5838706"/>
                  </a:ext>
                </a:extLst>
              </a:tr>
            </a:tbl>
          </a:graphicData>
        </a:graphic>
      </p:graphicFrame>
      <p:pic>
        <p:nvPicPr>
          <p:cNvPr id="2" name="Picture 1" descr="lgo sigap.png">
            <a:extLst>
              <a:ext uri="{FF2B5EF4-FFF2-40B4-BE49-F238E27FC236}">
                <a16:creationId xmlns:a16="http://schemas.microsoft.com/office/drawing/2014/main" id="{BDA6F7C6-4DDF-5BBB-22B4-1216696D24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7" name="Round Same Side Corner Rectangle 1">
            <a:extLst>
              <a:ext uri="{FF2B5EF4-FFF2-40B4-BE49-F238E27FC236}">
                <a16:creationId xmlns:a16="http://schemas.microsoft.com/office/drawing/2014/main" id="{B44763EC-AE85-6D04-AB50-800501F70B7D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DA3B1E2-CADB-831E-0928-994B038871DA}"/>
              </a:ext>
            </a:extLst>
          </p:cNvPr>
          <p:cNvSpPr txBox="1">
            <a:spLocks/>
          </p:cNvSpPr>
          <p:nvPr/>
        </p:nvSpPr>
        <p:spPr>
          <a:xfrm>
            <a:off x="309894" y="169194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400" b="1" dirty="0">
                <a:solidFill>
                  <a:prstClr val="black"/>
                </a:solidFill>
                <a:latin typeface="Segoe UI"/>
              </a:rPr>
              <a:t>ASOSIASI PROFESI TERAKREDITASI BERCABANG</a:t>
            </a:r>
          </a:p>
          <a:p>
            <a:pPr>
              <a:lnSpc>
                <a:spcPct val="100000"/>
              </a:lnSpc>
              <a:defRPr/>
            </a:pPr>
            <a:r>
              <a:rPr lang="fi-FI" sz="2400" dirty="0">
                <a:solidFill>
                  <a:prstClr val="black"/>
                </a:solidFill>
                <a:latin typeface="Segoe UI"/>
              </a:rPr>
              <a:t>PROVINSI KALIMANTAN TIMUR</a:t>
            </a:r>
          </a:p>
          <a:p>
            <a:pPr>
              <a:lnSpc>
                <a:spcPct val="100000"/>
              </a:lnSpc>
              <a:defRPr/>
            </a:pPr>
            <a:endParaRPr lang="fi-FI" sz="2400" b="1" dirty="0">
              <a:solidFill>
                <a:prstClr val="black"/>
              </a:solidFill>
              <a:latin typeface="Segoe UI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95FB3C4-E843-5EB7-55FA-BE211D8520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1104C0C-1749-8446-5845-C03B3231AD7C}"/>
              </a:ext>
            </a:extLst>
          </p:cNvPr>
          <p:cNvSpPr/>
          <p:nvPr/>
        </p:nvSpPr>
        <p:spPr>
          <a:xfrm>
            <a:off x="9012064" y="6165459"/>
            <a:ext cx="2838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762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Data LPJK 29 Juli 2024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BD0ADBB-076E-1F7F-049B-38E2B7349B8F}"/>
              </a:ext>
            </a:extLst>
          </p:cNvPr>
          <p:cNvSpPr/>
          <p:nvPr/>
        </p:nvSpPr>
        <p:spPr>
          <a:xfrm>
            <a:off x="341487" y="6165459"/>
            <a:ext cx="2838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762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Data LPJK 31 </a:t>
            </a:r>
            <a:r>
              <a:rPr kumimoji="0" lang="fi-FI" altLang="ko-KR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Desember</a:t>
            </a:r>
            <a:r>
              <a:rPr kumimoji="0" lang="fi-FI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 2020</a:t>
            </a:r>
          </a:p>
        </p:txBody>
      </p:sp>
    </p:spTree>
    <p:extLst>
      <p:ext uri="{BB962C8B-B14F-4D97-AF65-F5344CB8AC3E}">
        <p14:creationId xmlns:p14="http://schemas.microsoft.com/office/powerpoint/2010/main" val="15680891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C80B5C-DB18-8E44-038A-26470A5CBD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115A01BB-A77C-E015-AC29-7283FD0CAB4D}"/>
              </a:ext>
            </a:extLst>
          </p:cNvPr>
          <p:cNvGrpSpPr/>
          <p:nvPr/>
        </p:nvGrpSpPr>
        <p:grpSpPr>
          <a:xfrm>
            <a:off x="11088547" y="220925"/>
            <a:ext cx="948777" cy="183509"/>
            <a:chOff x="692631" y="1073281"/>
            <a:chExt cx="2497833" cy="483124"/>
          </a:xfrm>
        </p:grpSpPr>
        <p:pic>
          <p:nvPicPr>
            <p:cNvPr id="4" name="Picture 3" descr="Text, logo&#10;&#10;Description automatically generated">
              <a:extLst>
                <a:ext uri="{FF2B5EF4-FFF2-40B4-BE49-F238E27FC236}">
                  <a16:creationId xmlns:a16="http://schemas.microsoft.com/office/drawing/2014/main" id="{C3E35F0E-09A6-DFA1-D52C-9A3D4CC4DF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631" y="1073281"/>
              <a:ext cx="1270067" cy="483124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3275299-FA35-FA22-4F13-8FAD46B173F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06842" y="1126528"/>
              <a:ext cx="983622" cy="429877"/>
            </a:xfrm>
            <a:prstGeom prst="rect">
              <a:avLst/>
            </a:prstGeom>
          </p:spPr>
        </p:pic>
      </p:grpSp>
      <p:graphicFrame>
        <p:nvGraphicFramePr>
          <p:cNvPr id="25" name="Table 4">
            <a:extLst>
              <a:ext uri="{FF2B5EF4-FFF2-40B4-BE49-F238E27FC236}">
                <a16:creationId xmlns:a16="http://schemas.microsoft.com/office/drawing/2014/main" id="{8AC7464D-B1B3-02D0-8A8C-2BBC7E1102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5440172"/>
              </p:ext>
            </p:extLst>
          </p:nvPr>
        </p:nvGraphicFramePr>
        <p:xfrm>
          <a:off x="611070" y="1330510"/>
          <a:ext cx="10959899" cy="4908405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842933">
                  <a:extLst>
                    <a:ext uri="{9D8B030D-6E8A-4147-A177-3AD203B41FA5}">
                      <a16:colId xmlns:a16="http://schemas.microsoft.com/office/drawing/2014/main" val="2895276044"/>
                    </a:ext>
                  </a:extLst>
                </a:gridCol>
                <a:gridCol w="6116966">
                  <a:extLst>
                    <a:ext uri="{9D8B030D-6E8A-4147-A177-3AD203B41FA5}">
                      <a16:colId xmlns:a16="http://schemas.microsoft.com/office/drawing/2014/main" val="3186941341"/>
                    </a:ext>
                  </a:extLst>
                </a:gridCol>
              </a:tblGrid>
              <a:tr h="336405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err="1">
                          <a:latin typeface="DM Sans" pitchFamily="2" charset="0"/>
                        </a:rPr>
                        <a:t>Asosiasi</a:t>
                      </a:r>
                      <a:r>
                        <a:rPr lang="en-US" sz="1600" b="1" dirty="0">
                          <a:latin typeface="DM Sans" pitchFamily="2" charset="0"/>
                        </a:rPr>
                        <a:t> Badan Usaha (LPJK Lama)</a:t>
                      </a:r>
                      <a:endParaRPr sz="1600" b="1" dirty="0">
                        <a:latin typeface="DM Sans" pitchFamily="2" charset="0"/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4A9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err="1">
                          <a:latin typeface="DM Sans" pitchFamily="2" charset="0"/>
                        </a:rPr>
                        <a:t>Asosiasi</a:t>
                      </a:r>
                      <a:r>
                        <a:rPr lang="en-US" sz="1600" b="1" dirty="0">
                          <a:latin typeface="DM Sans" pitchFamily="2" charset="0"/>
                        </a:rPr>
                        <a:t> Usaha (LPJK Baru)</a:t>
                      </a:r>
                      <a:endParaRPr sz="1600" b="1" dirty="0">
                        <a:latin typeface="DM Sans" pitchFamily="2" charset="0"/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74A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9305033"/>
                  </a:ext>
                </a:extLst>
              </a:tr>
              <a:tr h="2112281">
                <a:tc>
                  <a:txBody>
                    <a:bodyPr/>
                    <a:lstStyle/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b="1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GAPEKSINDO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b="1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INKINDO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AKKI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b="1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ASPEKINDO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b="1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GAPEKNAS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b="1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GAPENSI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b="1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GABPEKNAS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PERKINDO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AKAINDO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ASKONAS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AKLINAS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AKMELINDO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HIPSINDO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GABPEKSI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GAKINDO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GAKLIMDO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APJAKON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GARANSI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HJKI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b="1" kern="1200" dirty="0">
                          <a:solidFill>
                            <a:srgbClr val="FF0000"/>
                          </a:solidFill>
                          <a:effectLst/>
                          <a:latin typeface="DM Sans" pitchFamily="2" charset="0"/>
                        </a:rPr>
                        <a:t>ASPEKNAS</a:t>
                      </a:r>
                      <a:endParaRPr lang="en-ID" sz="1400" kern="1200" dirty="0">
                        <a:solidFill>
                          <a:schemeClr val="dk1"/>
                        </a:solidFill>
                        <a:effectLst/>
                        <a:latin typeface="DM Sans" pitchFamily="2" charset="0"/>
                      </a:endParaRP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en-ID" sz="1400" kern="1200" dirty="0">
                        <a:solidFill>
                          <a:schemeClr val="dk1"/>
                        </a:solidFill>
                        <a:effectLst/>
                        <a:latin typeface="DM Sans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Asosiasi</a:t>
                      </a: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4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Pengusaha</a:t>
                      </a: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4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Konstruksi</a:t>
                      </a: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400" b="1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ASPEKINDO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Perkumpulan</a:t>
                      </a: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4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Pelaksana</a:t>
                      </a: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4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Konstruksi</a:t>
                      </a: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Nasional </a:t>
                      </a:r>
                      <a:r>
                        <a:rPr lang="en-ID" sz="1400" b="1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ASPEKNAS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Garda </a:t>
                      </a:r>
                      <a:r>
                        <a:rPr lang="en-ID" sz="14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Pembangun</a:t>
                      </a: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Nasional </a:t>
                      </a:r>
                      <a:r>
                        <a:rPr lang="en-ID" sz="1400" b="1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GAPEKNAS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Gabungan</a:t>
                      </a: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Perusahaan </a:t>
                      </a:r>
                      <a:r>
                        <a:rPr lang="en-ID" sz="14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Konstruksi</a:t>
                      </a: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Nasional Indonesia </a:t>
                      </a:r>
                      <a:r>
                        <a:rPr lang="en-ID" sz="1400" b="1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GAPEKSINDO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Gabungan</a:t>
                      </a: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4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Pelaksana</a:t>
                      </a: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4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Konstruksi</a:t>
                      </a: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Nasional Indonesia </a:t>
                      </a:r>
                      <a:r>
                        <a:rPr lang="en-ID" sz="1400" b="1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GAPENSI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Ikatan</a:t>
                      </a: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Nasional </a:t>
                      </a:r>
                      <a:r>
                        <a:rPr lang="en-ID" sz="14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Konsultan</a:t>
                      </a: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400" b="1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INKINDO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Persatuan</a:t>
                      </a: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4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Konsultan</a:t>
                      </a: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400" b="1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PERKINDO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Perkumpulan</a:t>
                      </a: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4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Kontraktor</a:t>
                      </a: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</a:t>
                      </a:r>
                      <a:r>
                        <a:rPr lang="en-ID" sz="14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Profesional</a:t>
                      </a: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400" b="1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PERKOPINDO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Gabungan</a:t>
                      </a: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Perusahaan </a:t>
                      </a:r>
                      <a:r>
                        <a:rPr lang="en-ID" sz="14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Kontraktor</a:t>
                      </a: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Nasional </a:t>
                      </a:r>
                      <a:r>
                        <a:rPr lang="en-ID" sz="1400" b="1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GABPEKNAS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Perusahaan </a:t>
                      </a:r>
                      <a:r>
                        <a:rPr lang="en-ID" sz="14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Perkumpulan</a:t>
                      </a: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Jasa </a:t>
                      </a:r>
                      <a:r>
                        <a:rPr lang="en-ID" sz="1400" kern="1200" dirty="0" err="1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Konsultan</a:t>
                      </a:r>
                      <a:r>
                        <a:rPr lang="en-ID" sz="1400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 Indonesia </a:t>
                      </a:r>
                      <a:r>
                        <a:rPr lang="en-ID" sz="1400" b="1" kern="1200" dirty="0">
                          <a:solidFill>
                            <a:schemeClr val="dk1"/>
                          </a:solidFill>
                          <a:effectLst/>
                          <a:latin typeface="DM Sans" pitchFamily="2" charset="0"/>
                        </a:rPr>
                        <a:t>(PERKONINDO)</a:t>
                      </a: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en-ID" sz="1400" kern="1200" dirty="0">
                        <a:solidFill>
                          <a:schemeClr val="dk1"/>
                        </a:solidFill>
                        <a:effectLst/>
                        <a:latin typeface="DM Sans" pitchFamily="2" charset="0"/>
                      </a:endParaRP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en-ID" sz="1400" b="1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0"/>
                      </a:endParaRP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en-ID" sz="1400" b="1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0"/>
                      </a:endParaRP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en-ID" sz="1400" b="1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0"/>
                      </a:endParaRP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en-ID" sz="1400" b="1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0"/>
                      </a:endParaRP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en-ID" sz="1400" b="1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0"/>
                      </a:endParaRP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en-ID" sz="1400" b="1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0"/>
                      </a:endParaRPr>
                    </a:p>
                    <a:p>
                      <a:pPr marL="455613" marR="0" lvl="0" indent="-39687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en-ID" sz="1400" b="1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5838706"/>
                  </a:ext>
                </a:extLst>
              </a:tr>
            </a:tbl>
          </a:graphicData>
        </a:graphic>
      </p:graphicFrame>
      <p:pic>
        <p:nvPicPr>
          <p:cNvPr id="2" name="Picture 1" descr="lgo sigap.png">
            <a:extLst>
              <a:ext uri="{FF2B5EF4-FFF2-40B4-BE49-F238E27FC236}">
                <a16:creationId xmlns:a16="http://schemas.microsoft.com/office/drawing/2014/main" id="{BDA6F7C6-4DDF-5BBB-22B4-1216696D24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7" name="Round Same Side Corner Rectangle 1">
            <a:extLst>
              <a:ext uri="{FF2B5EF4-FFF2-40B4-BE49-F238E27FC236}">
                <a16:creationId xmlns:a16="http://schemas.microsoft.com/office/drawing/2014/main" id="{B44763EC-AE85-6D04-AB50-800501F70B7D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DA3B1E2-CADB-831E-0928-994B038871DA}"/>
              </a:ext>
            </a:extLst>
          </p:cNvPr>
          <p:cNvSpPr txBox="1">
            <a:spLocks/>
          </p:cNvSpPr>
          <p:nvPr/>
        </p:nvSpPr>
        <p:spPr>
          <a:xfrm>
            <a:off x="309894" y="169194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400" b="1" dirty="0">
                <a:solidFill>
                  <a:prstClr val="black"/>
                </a:solidFill>
                <a:latin typeface="Segoe UI"/>
              </a:rPr>
              <a:t>ASOSIASI BADAN USAHA TERAKREDITASI BERCABANG</a:t>
            </a:r>
          </a:p>
          <a:p>
            <a:pPr>
              <a:lnSpc>
                <a:spcPct val="100000"/>
              </a:lnSpc>
              <a:defRPr/>
            </a:pPr>
            <a:r>
              <a:rPr lang="fi-FI" sz="2400" dirty="0">
                <a:solidFill>
                  <a:prstClr val="black"/>
                </a:solidFill>
                <a:latin typeface="Segoe UI"/>
              </a:rPr>
              <a:t>PROVINSI KALIMANTAN TIMUR</a:t>
            </a:r>
          </a:p>
          <a:p>
            <a:pPr>
              <a:lnSpc>
                <a:spcPct val="100000"/>
              </a:lnSpc>
              <a:defRPr/>
            </a:pPr>
            <a:endParaRPr lang="fi-FI" sz="2400" b="1" dirty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5CFF46-6E8F-B001-47A3-156AEE8EC156}"/>
              </a:ext>
            </a:extLst>
          </p:cNvPr>
          <p:cNvSpPr txBox="1"/>
          <p:nvPr/>
        </p:nvSpPr>
        <p:spPr>
          <a:xfrm>
            <a:off x="2990302" y="1671466"/>
            <a:ext cx="1930400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 startAt="21"/>
            </a:pPr>
            <a:r>
              <a:rPr lang="en-US" sz="1400" dirty="0">
                <a:latin typeface="DM Sans" pitchFamily="2" charset="77"/>
              </a:rPr>
              <a:t>AKBARINDO</a:t>
            </a:r>
          </a:p>
          <a:p>
            <a:pPr marL="342900" indent="-342900">
              <a:buFont typeface="+mj-lt"/>
              <a:buAutoNum type="arabicPeriod" startAt="21"/>
            </a:pPr>
            <a:r>
              <a:rPr lang="en-US" sz="1400" dirty="0">
                <a:latin typeface="DM Sans" pitchFamily="2" charset="77"/>
              </a:rPr>
              <a:t>PAKLINA</a:t>
            </a:r>
          </a:p>
          <a:p>
            <a:pPr marL="342900" indent="-342900">
              <a:buFont typeface="+mj-lt"/>
              <a:buAutoNum type="arabicPeriod" startAt="21"/>
            </a:pPr>
            <a:r>
              <a:rPr lang="en-US" sz="1400" dirty="0">
                <a:latin typeface="DM Sans" pitchFamily="2" charset="77"/>
              </a:rPr>
              <a:t>ASPERTANAS</a:t>
            </a:r>
          </a:p>
          <a:p>
            <a:pPr marL="342900" indent="-342900">
              <a:buFont typeface="+mj-lt"/>
              <a:buAutoNum type="arabicPeriod" startAt="21"/>
            </a:pPr>
            <a:r>
              <a:rPr lang="en-US" sz="1400" dirty="0">
                <a:latin typeface="DM Sans" pitchFamily="2" charset="77"/>
              </a:rPr>
              <a:t>ASKINDO</a:t>
            </a:r>
          </a:p>
          <a:p>
            <a:pPr marL="342900" indent="-342900">
              <a:buFont typeface="+mj-lt"/>
              <a:buAutoNum type="arabicPeriod" startAt="21"/>
            </a:pPr>
            <a:r>
              <a:rPr lang="en-US" sz="1400" dirty="0">
                <a:latin typeface="DM Sans" pitchFamily="2" charset="77"/>
              </a:rPr>
              <a:t>ASKOPINDO</a:t>
            </a:r>
          </a:p>
          <a:p>
            <a:pPr marL="342900" indent="-342900">
              <a:buFont typeface="+mj-lt"/>
              <a:buAutoNum type="arabicPeriod" startAt="21"/>
            </a:pPr>
            <a:r>
              <a:rPr lang="en-US" sz="1400" dirty="0">
                <a:latin typeface="DM Sans" pitchFamily="2" charset="77"/>
              </a:rPr>
              <a:t>AKLINDO</a:t>
            </a:r>
          </a:p>
          <a:p>
            <a:pPr marL="342900" indent="-342900">
              <a:buFont typeface="+mj-lt"/>
              <a:buAutoNum type="arabicPeriod" startAt="21"/>
            </a:pPr>
            <a:r>
              <a:rPr lang="en-US" sz="1400" dirty="0">
                <a:latin typeface="DM Sans" pitchFamily="2" charset="77"/>
              </a:rPr>
              <a:t>AKLI</a:t>
            </a:r>
          </a:p>
          <a:p>
            <a:pPr marL="342900" indent="-342900">
              <a:buFont typeface="+mj-lt"/>
              <a:buAutoNum type="arabicPeriod" startAt="21"/>
            </a:pPr>
            <a:r>
              <a:rPr lang="en-US" sz="1400" dirty="0">
                <a:latin typeface="DM Sans" pitchFamily="2" charset="77"/>
              </a:rPr>
              <a:t>GAPKAINDO</a:t>
            </a:r>
          </a:p>
          <a:p>
            <a:pPr marL="342900" indent="-342900">
              <a:buFont typeface="+mj-lt"/>
              <a:buAutoNum type="arabicPeriod" startAt="21"/>
            </a:pPr>
            <a:r>
              <a:rPr lang="en-US" sz="1400" dirty="0">
                <a:latin typeface="DM Sans" pitchFamily="2" charset="77"/>
              </a:rPr>
              <a:t>AKTALI</a:t>
            </a:r>
          </a:p>
          <a:p>
            <a:pPr marL="342900" indent="-342900">
              <a:buFont typeface="+mj-lt"/>
              <a:buAutoNum type="arabicPeriod" startAt="21"/>
            </a:pPr>
            <a:r>
              <a:rPr lang="en-US" sz="1400" dirty="0">
                <a:latin typeface="DM Sans" pitchFamily="2" charset="77"/>
              </a:rPr>
              <a:t>AKJI</a:t>
            </a:r>
          </a:p>
          <a:p>
            <a:pPr marL="342900" indent="-342900">
              <a:buFont typeface="+mj-lt"/>
              <a:buAutoNum type="arabicPeriod" startAt="21"/>
            </a:pPr>
            <a:r>
              <a:rPr lang="en-US" sz="1400" dirty="0">
                <a:latin typeface="DM Sans" pitchFamily="2" charset="77"/>
              </a:rPr>
              <a:t>AKSDAI</a:t>
            </a:r>
          </a:p>
          <a:p>
            <a:pPr marL="342900" indent="-342900">
              <a:buFont typeface="+mj-lt"/>
              <a:buAutoNum type="arabicPeriod" startAt="21"/>
            </a:pPr>
            <a:r>
              <a:rPr lang="en-US" sz="1400" dirty="0">
                <a:latin typeface="DM Sans" pitchFamily="2" charset="77"/>
              </a:rPr>
              <a:t>AKMI</a:t>
            </a:r>
          </a:p>
          <a:p>
            <a:pPr marL="342900" indent="-342900">
              <a:buFont typeface="+mj-lt"/>
              <a:buAutoNum type="arabicPeriod" startAt="21"/>
            </a:pPr>
            <a:r>
              <a:rPr lang="en-US" sz="1400" dirty="0">
                <a:latin typeface="DM Sans" pitchFamily="2" charset="77"/>
              </a:rPr>
              <a:t>ASKOMELIN</a:t>
            </a:r>
          </a:p>
          <a:p>
            <a:pPr marL="342900" indent="-342900">
              <a:buFont typeface="+mj-lt"/>
              <a:buAutoNum type="arabicPeriod" startAt="21"/>
            </a:pPr>
            <a:r>
              <a:rPr lang="en-US" sz="1400" dirty="0">
                <a:latin typeface="DM Sans" pitchFamily="2" charset="77"/>
              </a:rPr>
              <a:t>PERJASI</a:t>
            </a:r>
          </a:p>
          <a:p>
            <a:pPr marL="342900" indent="-342900">
              <a:buFont typeface="+mj-lt"/>
              <a:buAutoNum type="arabicPeriod" startAt="21"/>
            </a:pPr>
            <a:r>
              <a:rPr lang="en-US" sz="1400" dirty="0">
                <a:latin typeface="DM Sans" pitchFamily="2" charset="77"/>
              </a:rPr>
              <a:t>ASKUMNAS</a:t>
            </a:r>
          </a:p>
          <a:p>
            <a:pPr marL="342900" indent="-342900">
              <a:buFont typeface="+mj-lt"/>
              <a:buAutoNum type="arabicPeriod" startAt="21"/>
            </a:pPr>
            <a:r>
              <a:rPr lang="en-US" sz="1400" b="1" dirty="0">
                <a:solidFill>
                  <a:srgbClr val="FF0000"/>
                </a:solidFill>
                <a:latin typeface="DM Sans" pitchFamily="2" charset="77"/>
              </a:rPr>
              <a:t>PERKOPINDO</a:t>
            </a:r>
          </a:p>
          <a:p>
            <a:pPr marL="342900" indent="-342900">
              <a:buFont typeface="+mj-lt"/>
              <a:buAutoNum type="arabicPeriod" startAt="21"/>
            </a:pPr>
            <a:r>
              <a:rPr lang="en-US" sz="1400" dirty="0">
                <a:latin typeface="DM Sans" pitchFamily="2" charset="77"/>
              </a:rPr>
              <a:t>ASKONI</a:t>
            </a:r>
          </a:p>
          <a:p>
            <a:pPr marL="342900" indent="-342900">
              <a:buFont typeface="+mj-lt"/>
              <a:buAutoNum type="arabicPeriod" startAt="21"/>
            </a:pPr>
            <a:r>
              <a:rPr lang="en-US" sz="1400" b="1" dirty="0">
                <a:solidFill>
                  <a:srgbClr val="FF0000"/>
                </a:solidFill>
                <a:latin typeface="DM Sans" pitchFamily="2" charset="77"/>
              </a:rPr>
              <a:t>PERKONINDO</a:t>
            </a:r>
          </a:p>
          <a:p>
            <a:endParaRPr lang="en-US" sz="1400" dirty="0">
              <a:latin typeface="DM Sans" pitchFamily="2" charset="77"/>
            </a:endParaRPr>
          </a:p>
          <a:p>
            <a:pPr marL="342900" indent="-342900">
              <a:buFont typeface="+mj-lt"/>
              <a:buAutoNum type="arabicPeriod" startAt="21"/>
            </a:pPr>
            <a:endParaRPr lang="en-US" sz="1400" dirty="0">
              <a:latin typeface="DM Sans" pitchFamily="2" charset="77"/>
            </a:endParaRPr>
          </a:p>
          <a:p>
            <a:pPr marL="342900" indent="-342900">
              <a:buFont typeface="+mj-lt"/>
              <a:buAutoNum type="arabicPeriod" startAt="21"/>
            </a:pPr>
            <a:endParaRPr lang="en-US" sz="1400" dirty="0">
              <a:latin typeface="DM Sans" pitchFamily="2" charset="77"/>
            </a:endParaRPr>
          </a:p>
          <a:p>
            <a:endParaRPr lang="en-US" sz="1400" dirty="0">
              <a:latin typeface="DM Sans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0A34107-51F1-2742-F002-648269F1DB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7312C58-A372-50A7-80BC-A5918676172C}"/>
              </a:ext>
            </a:extLst>
          </p:cNvPr>
          <p:cNvSpPr/>
          <p:nvPr/>
        </p:nvSpPr>
        <p:spPr>
          <a:xfrm>
            <a:off x="8831835" y="6243133"/>
            <a:ext cx="2838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762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Data LPJK 29 Juli 202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6585CA3-1730-4BFC-2932-669E80D60803}"/>
              </a:ext>
            </a:extLst>
          </p:cNvPr>
          <p:cNvSpPr/>
          <p:nvPr/>
        </p:nvSpPr>
        <p:spPr>
          <a:xfrm>
            <a:off x="611070" y="6238915"/>
            <a:ext cx="2838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762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Data LPJK 31 </a:t>
            </a:r>
            <a:r>
              <a:rPr kumimoji="0" lang="fi-FI" altLang="ko-KR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Desember</a:t>
            </a:r>
            <a:r>
              <a:rPr kumimoji="0" lang="fi-FI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 2020</a:t>
            </a:r>
          </a:p>
        </p:txBody>
      </p:sp>
    </p:spTree>
    <p:extLst>
      <p:ext uri="{BB962C8B-B14F-4D97-AF65-F5344CB8AC3E}">
        <p14:creationId xmlns:p14="http://schemas.microsoft.com/office/powerpoint/2010/main" val="3423851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1D66DC-1C90-6948-BC17-50F085AA93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81F06F8-F742-4F8E-E828-F604DDD06B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931" y="2534123"/>
            <a:ext cx="12192000" cy="50537"/>
          </a:xfrm>
          <a:prstGeom prst="rect">
            <a:avLst/>
          </a:prstGeom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664E9A18-AB21-C423-59B6-F3B5A1E652DD}"/>
              </a:ext>
            </a:extLst>
          </p:cNvPr>
          <p:cNvSpPr txBox="1"/>
          <p:nvPr/>
        </p:nvSpPr>
        <p:spPr>
          <a:xfrm>
            <a:off x="2469515" y="4306243"/>
            <a:ext cx="9012572" cy="185948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4000" b="1" spc="-90" dirty="0">
                <a:solidFill>
                  <a:srgbClr val="002060"/>
                </a:solidFill>
                <a:latin typeface="Verdana"/>
                <a:cs typeface="Verdana"/>
              </a:rPr>
              <a:t>LAYANAN LISENSI LEMBAGA SERTIFIKASI BADAN USAHA (LSBU)</a:t>
            </a:r>
            <a:endParaRPr sz="4000" dirty="0">
              <a:solidFill>
                <a:srgbClr val="002060"/>
              </a:solidFill>
              <a:latin typeface="Verdana"/>
              <a:cs typeface="Verdana"/>
            </a:endParaRPr>
          </a:p>
        </p:txBody>
      </p:sp>
      <p:pic>
        <p:nvPicPr>
          <p:cNvPr id="5" name="object 5">
            <a:extLst>
              <a:ext uri="{FF2B5EF4-FFF2-40B4-BE49-F238E27FC236}">
                <a16:creationId xmlns:a16="http://schemas.microsoft.com/office/drawing/2014/main" id="{B7BABBC3-5643-6EB6-D5B9-3476E21D1686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818119" y="457200"/>
            <a:ext cx="4605020" cy="2806700"/>
          </a:xfrm>
          <a:prstGeom prst="rect">
            <a:avLst/>
          </a:prstGeom>
        </p:spPr>
      </p:pic>
      <p:sp>
        <p:nvSpPr>
          <p:cNvPr id="7" name="object 7">
            <a:extLst>
              <a:ext uri="{FF2B5EF4-FFF2-40B4-BE49-F238E27FC236}">
                <a16:creationId xmlns:a16="http://schemas.microsoft.com/office/drawing/2014/main" id="{9376A4C1-9292-2296-330E-B6B08A3290CF}"/>
              </a:ext>
            </a:extLst>
          </p:cNvPr>
          <p:cNvSpPr/>
          <p:nvPr/>
        </p:nvSpPr>
        <p:spPr>
          <a:xfrm>
            <a:off x="-11931" y="-228600"/>
            <a:ext cx="10261600" cy="2771140"/>
          </a:xfrm>
          <a:custGeom>
            <a:avLst/>
            <a:gdLst/>
            <a:ahLst/>
            <a:cxnLst/>
            <a:rect l="l" t="t" r="r" b="b"/>
            <a:pathLst>
              <a:path w="10261600" h="2771140">
                <a:moveTo>
                  <a:pt x="9645050" y="0"/>
                </a:moveTo>
                <a:lnTo>
                  <a:pt x="0" y="0"/>
                </a:lnTo>
                <a:lnTo>
                  <a:pt x="0" y="2771140"/>
                </a:lnTo>
                <a:lnTo>
                  <a:pt x="9278493" y="2771140"/>
                </a:lnTo>
                <a:lnTo>
                  <a:pt x="10261600" y="1068070"/>
                </a:lnTo>
                <a:lnTo>
                  <a:pt x="9645050" y="0"/>
                </a:lnTo>
                <a:close/>
              </a:path>
            </a:pathLst>
          </a:custGeom>
          <a:solidFill>
            <a:schemeClr val="bg1">
              <a:lumMod val="85000"/>
              <a:alpha val="46665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B99D87A2-E228-5C78-0822-263A5A331459}"/>
              </a:ext>
            </a:extLst>
          </p:cNvPr>
          <p:cNvSpPr/>
          <p:nvPr/>
        </p:nvSpPr>
        <p:spPr>
          <a:xfrm>
            <a:off x="6471920" y="-93980"/>
            <a:ext cx="5742940" cy="3357879"/>
          </a:xfrm>
          <a:custGeom>
            <a:avLst/>
            <a:gdLst/>
            <a:ahLst/>
            <a:cxnLst/>
            <a:rect l="l" t="t" r="r" b="b"/>
            <a:pathLst>
              <a:path w="5742940" h="3357879">
                <a:moveTo>
                  <a:pt x="4774692" y="0"/>
                </a:moveTo>
                <a:lnTo>
                  <a:pt x="968248" y="0"/>
                </a:lnTo>
                <a:lnTo>
                  <a:pt x="0" y="1678939"/>
                </a:lnTo>
                <a:lnTo>
                  <a:pt x="968248" y="3357879"/>
                </a:lnTo>
                <a:lnTo>
                  <a:pt x="4774692" y="3357879"/>
                </a:lnTo>
                <a:lnTo>
                  <a:pt x="5742940" y="1678939"/>
                </a:lnTo>
                <a:lnTo>
                  <a:pt x="4774692" y="0"/>
                </a:lnTo>
                <a:close/>
              </a:path>
            </a:pathLst>
          </a:custGeom>
          <a:solidFill>
            <a:srgbClr val="36528A">
              <a:alpha val="67842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7" descr="Text, logo&#10;&#10;Description automatically generated">
            <a:extLst>
              <a:ext uri="{FF2B5EF4-FFF2-40B4-BE49-F238E27FC236}">
                <a16:creationId xmlns:a16="http://schemas.microsoft.com/office/drawing/2014/main" id="{29974BFE-70BC-BA1A-99BF-059081DA50D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043" y="67678"/>
            <a:ext cx="1615921" cy="614684"/>
          </a:xfrm>
          <a:prstGeom prst="rect">
            <a:avLst/>
          </a:prstGeom>
        </p:spPr>
      </p:pic>
      <p:pic>
        <p:nvPicPr>
          <p:cNvPr id="9" name="Picture 30" descr="A black background with red and black text&#10;&#10;Description automatically generated">
            <a:extLst>
              <a:ext uri="{FF2B5EF4-FFF2-40B4-BE49-F238E27FC236}">
                <a16:creationId xmlns:a16="http://schemas.microsoft.com/office/drawing/2014/main" id="{D59258F3-5127-8250-7688-100E2B279DD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1968133" y="-164396"/>
            <a:ext cx="1106668" cy="1106668"/>
          </a:xfrm>
          <a:prstGeom prst="rect">
            <a:avLst/>
          </a:prstGeom>
        </p:spPr>
      </p:pic>
      <p:pic>
        <p:nvPicPr>
          <p:cNvPr id="10" name="Picture 9" descr="lgo sigap.png">
            <a:extLst>
              <a:ext uri="{FF2B5EF4-FFF2-40B4-BE49-F238E27FC236}">
                <a16:creationId xmlns:a16="http://schemas.microsoft.com/office/drawing/2014/main" id="{75808627-9789-5C5F-7CEF-A84544F28D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  <p:sp>
        <p:nvSpPr>
          <p:cNvPr id="11" name="object 2">
            <a:extLst>
              <a:ext uri="{FF2B5EF4-FFF2-40B4-BE49-F238E27FC236}">
                <a16:creationId xmlns:a16="http://schemas.microsoft.com/office/drawing/2014/main" id="{561860D8-FF3D-0E63-AEB1-76D18CC06737}"/>
              </a:ext>
            </a:extLst>
          </p:cNvPr>
          <p:cNvSpPr txBox="1"/>
          <p:nvPr/>
        </p:nvSpPr>
        <p:spPr>
          <a:xfrm>
            <a:off x="269043" y="3106740"/>
            <a:ext cx="1534474" cy="32444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1000" b="1" spc="-9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  <a:endParaRPr sz="210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0725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60F44A-8667-9727-9535-96242F9F13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Top Corners Rounded 11">
            <a:extLst>
              <a:ext uri="{FF2B5EF4-FFF2-40B4-BE49-F238E27FC236}">
                <a16:creationId xmlns:a16="http://schemas.microsoft.com/office/drawing/2014/main" id="{8F3A79A1-37B2-1A05-D58E-EFB3E7238A7D}"/>
              </a:ext>
            </a:extLst>
          </p:cNvPr>
          <p:cNvSpPr/>
          <p:nvPr/>
        </p:nvSpPr>
        <p:spPr>
          <a:xfrm rot="16200000">
            <a:off x="8220135" y="257679"/>
            <a:ext cx="2187976" cy="5860229"/>
          </a:xfrm>
          <a:prstGeom prst="round2SameRect">
            <a:avLst>
              <a:gd name="adj1" fmla="val 21012"/>
              <a:gd name="adj2" fmla="val 0"/>
            </a:avLst>
          </a:prstGeom>
          <a:solidFill>
            <a:srgbClr val="FFC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-4572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1C3367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132246A8-46CC-4D03-E5F3-5D8090F5606E}"/>
              </a:ext>
            </a:extLst>
          </p:cNvPr>
          <p:cNvSpPr/>
          <p:nvPr/>
        </p:nvSpPr>
        <p:spPr>
          <a:xfrm rot="5400000">
            <a:off x="1415493" y="423038"/>
            <a:ext cx="3789760" cy="6620747"/>
          </a:xfrm>
          <a:prstGeom prst="round2SameRect">
            <a:avLst>
              <a:gd name="adj1" fmla="val 21012"/>
              <a:gd name="adj2" fmla="val 0"/>
            </a:avLst>
          </a:prstGeom>
          <a:solidFill>
            <a:srgbClr val="174A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-4572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srgbClr val="1C3367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</a:endParaRPr>
          </a:p>
        </p:txBody>
      </p:sp>
      <p:pic>
        <p:nvPicPr>
          <p:cNvPr id="192" name="Picture 191" descr="lgo sigap.png">
            <a:extLst>
              <a:ext uri="{FF2B5EF4-FFF2-40B4-BE49-F238E27FC236}">
                <a16:creationId xmlns:a16="http://schemas.microsoft.com/office/drawing/2014/main" id="{9F44043F-1BAA-A689-B6BC-21FA6B1DD3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196" name="Round Same Side Corner Rectangle 1">
            <a:extLst>
              <a:ext uri="{FF2B5EF4-FFF2-40B4-BE49-F238E27FC236}">
                <a16:creationId xmlns:a16="http://schemas.microsoft.com/office/drawing/2014/main" id="{7A5111B2-20D4-35DA-3681-04A67C3F078F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7" name="Title 1">
            <a:extLst>
              <a:ext uri="{FF2B5EF4-FFF2-40B4-BE49-F238E27FC236}">
                <a16:creationId xmlns:a16="http://schemas.microsoft.com/office/drawing/2014/main" id="{BC491239-F948-E803-16A0-DB1E52C2E398}"/>
              </a:ext>
            </a:extLst>
          </p:cNvPr>
          <p:cNvSpPr txBox="1">
            <a:spLocks/>
          </p:cNvSpPr>
          <p:nvPr/>
        </p:nvSpPr>
        <p:spPr>
          <a:xfrm>
            <a:off x="347157" y="169194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3200" b="1" dirty="0" err="1">
                <a:solidFill>
                  <a:prstClr val="black"/>
                </a:solidFill>
                <a:latin typeface="Segoe UI"/>
              </a:rPr>
              <a:t>Apakah</a:t>
            </a:r>
            <a:r>
              <a:rPr lang="fi-FI" sz="3200" b="1" dirty="0">
                <a:solidFill>
                  <a:prstClr val="black"/>
                </a:solidFill>
                <a:latin typeface="Segoe UI"/>
              </a:rPr>
              <a:t> </a:t>
            </a:r>
            <a:r>
              <a:rPr lang="fi-FI" sz="3200" b="1" dirty="0" err="1">
                <a:solidFill>
                  <a:prstClr val="black"/>
                </a:solidFill>
                <a:latin typeface="Segoe UI"/>
              </a:rPr>
              <a:t>asosiasi</a:t>
            </a:r>
            <a:r>
              <a:rPr lang="fi-FI" sz="3200" b="1" dirty="0">
                <a:solidFill>
                  <a:prstClr val="black"/>
                </a:solidFill>
                <a:latin typeface="Segoe UI"/>
              </a:rPr>
              <a:t> di </a:t>
            </a:r>
            <a:r>
              <a:rPr lang="fi-FI" sz="3200" b="1" dirty="0" err="1">
                <a:solidFill>
                  <a:prstClr val="black"/>
                </a:solidFill>
                <a:latin typeface="Segoe UI"/>
              </a:rPr>
              <a:t>tingkat</a:t>
            </a:r>
            <a:r>
              <a:rPr lang="fi-FI" sz="3200" b="1" dirty="0">
                <a:solidFill>
                  <a:prstClr val="black"/>
                </a:solidFill>
                <a:latin typeface="Segoe UI"/>
              </a:rPr>
              <a:t> </a:t>
            </a:r>
            <a:r>
              <a:rPr lang="fi-FI" sz="3200" b="1" dirty="0" err="1">
                <a:solidFill>
                  <a:prstClr val="black"/>
                </a:solidFill>
                <a:latin typeface="Segoe UI"/>
              </a:rPr>
              <a:t>provinsi</a:t>
            </a:r>
            <a:r>
              <a:rPr lang="fi-FI" sz="3200" b="1" dirty="0">
                <a:solidFill>
                  <a:prstClr val="black"/>
                </a:solidFill>
                <a:latin typeface="Segoe UI"/>
              </a:rPr>
              <a:t> </a:t>
            </a:r>
            <a:r>
              <a:rPr lang="fi-FI" sz="3200" b="1" dirty="0" err="1">
                <a:solidFill>
                  <a:prstClr val="black"/>
                </a:solidFill>
                <a:latin typeface="Segoe UI"/>
              </a:rPr>
              <a:t>boleh</a:t>
            </a:r>
            <a:r>
              <a:rPr lang="fi-FI" sz="3200" b="1" dirty="0">
                <a:solidFill>
                  <a:prstClr val="black"/>
                </a:solidFill>
                <a:latin typeface="Segoe UI"/>
              </a:rPr>
              <a:t> </a:t>
            </a:r>
            <a:r>
              <a:rPr lang="fi-FI" sz="3200" b="1" dirty="0" err="1">
                <a:solidFill>
                  <a:prstClr val="black"/>
                </a:solidFill>
                <a:latin typeface="Segoe UI"/>
              </a:rPr>
              <a:t>membentuk</a:t>
            </a:r>
            <a:r>
              <a:rPr lang="fi-FI" sz="3200" b="1" dirty="0">
                <a:solidFill>
                  <a:prstClr val="black"/>
                </a:solidFill>
                <a:latin typeface="Segoe UI"/>
              </a:rPr>
              <a:t> LSBU </a:t>
            </a:r>
            <a:r>
              <a:rPr lang="fi-FI" sz="3200" b="1" dirty="0" err="1">
                <a:solidFill>
                  <a:prstClr val="black"/>
                </a:solidFill>
                <a:latin typeface="Segoe UI"/>
              </a:rPr>
              <a:t>dan</a:t>
            </a:r>
            <a:r>
              <a:rPr lang="fi-FI" sz="3200" b="1" dirty="0">
                <a:solidFill>
                  <a:prstClr val="black"/>
                </a:solidFill>
                <a:latin typeface="Segoe UI"/>
              </a:rPr>
              <a:t> LSP?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9566BF3-DFB9-726B-297E-ED0817A8CD3B}"/>
              </a:ext>
            </a:extLst>
          </p:cNvPr>
          <p:cNvSpPr txBox="1"/>
          <p:nvPr/>
        </p:nvSpPr>
        <p:spPr>
          <a:xfrm>
            <a:off x="347157" y="3491012"/>
            <a:ext cx="6016940" cy="175432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 err="1">
                <a:solidFill>
                  <a:srgbClr val="FFC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mohonan</a:t>
            </a:r>
            <a:r>
              <a:rPr lang="en-US" b="1" dirty="0">
                <a:solidFill>
                  <a:srgbClr val="FFC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b="1" dirty="0" err="1">
                <a:solidFill>
                  <a:srgbClr val="FFC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sensi</a:t>
            </a:r>
            <a:r>
              <a:rPr lang="en-US" b="1" dirty="0">
                <a:solidFill>
                  <a:srgbClr val="FFC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LSBU </a:t>
            </a:r>
            <a:r>
              <a:rPr lang="en-US" b="1" dirty="0" err="1">
                <a:solidFill>
                  <a:srgbClr val="FFC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rbuka</a:t>
            </a:r>
            <a:r>
              <a:rPr lang="en-US" b="1" dirty="0">
                <a:solidFill>
                  <a:srgbClr val="FFC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an </a:t>
            </a:r>
            <a:r>
              <a:rPr lang="en-US" b="1" dirty="0" err="1">
                <a:solidFill>
                  <a:srgbClr val="FFC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pat</a:t>
            </a:r>
            <a:r>
              <a:rPr lang="en-US" b="1" dirty="0">
                <a:solidFill>
                  <a:srgbClr val="FFC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b="1" dirty="0" err="1">
                <a:solidFill>
                  <a:srgbClr val="FFC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ikuti</a:t>
            </a:r>
            <a:r>
              <a:rPr lang="en-US" b="1" dirty="0">
                <a:solidFill>
                  <a:srgbClr val="FFC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oleh LSBU yang </a:t>
            </a:r>
            <a:r>
              <a:rPr lang="en-US" b="1" dirty="0" err="1">
                <a:solidFill>
                  <a:srgbClr val="FFC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bentuk</a:t>
            </a:r>
            <a:r>
              <a:rPr lang="en-US" b="1" dirty="0">
                <a:solidFill>
                  <a:srgbClr val="FFC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oleh </a:t>
            </a:r>
            <a:r>
              <a:rPr lang="en-US" b="1" dirty="0" err="1">
                <a:solidFill>
                  <a:srgbClr val="FFC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osiasi</a:t>
            </a:r>
            <a:r>
              <a:rPr lang="en-US" b="1" dirty="0">
                <a:solidFill>
                  <a:srgbClr val="FFC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Badan Usaha </a:t>
            </a:r>
            <a:r>
              <a:rPr lang="en-US" b="1" dirty="0" err="1">
                <a:solidFill>
                  <a:srgbClr val="FFC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rakreditas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ngan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ngkup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yanan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ebih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r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1(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tu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lasifikas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aha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tau</a:t>
            </a:r>
            <a:endParaRPr lang="en-US" dirty="0">
              <a:solidFill>
                <a:schemeClr val="bg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800100" lvl="1" indent="-342900">
              <a:buFont typeface="+mj-lt"/>
              <a:buAutoNum type="alphaLcPeriod"/>
            </a:pP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(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tu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ubklasifikas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aha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tau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1 (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tu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lasifikas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aha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C40007-82C7-1D18-6D68-F593F2B0FC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EC46E580-C410-2DC9-1B7E-9C5C382CF840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5C593DF1-80C9-DC3F-8025-473D127667F5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D6FE818-D4DB-207F-44D5-34FDB2346A3E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A246D09B-E78E-A547-EBBD-30C515F0E936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9C83645-F521-1267-0A3B-F215BA95ED1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66791820-AB1C-8262-FF1D-9E51087F2545}"/>
              </a:ext>
            </a:extLst>
          </p:cNvPr>
          <p:cNvSpPr/>
          <p:nvPr/>
        </p:nvSpPr>
        <p:spPr>
          <a:xfrm flipH="1">
            <a:off x="6749867" y="2520716"/>
            <a:ext cx="5140318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>
              <a:defRPr/>
            </a:pPr>
            <a:r>
              <a:rPr lang="en-ID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ngarah</a:t>
            </a:r>
            <a:r>
              <a:rPr lang="en-ID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an/</a:t>
            </a:r>
            <a:r>
              <a:rPr lang="en-ID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tau</a:t>
            </a:r>
            <a:r>
              <a:rPr lang="en-ID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laksana</a:t>
            </a:r>
            <a:r>
              <a:rPr lang="en-ID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LSBU </a:t>
            </a:r>
            <a:r>
              <a:rPr lang="en-ID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larang</a:t>
            </a:r>
            <a:r>
              <a:rPr lang="en-ID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rangkap</a:t>
            </a:r>
            <a:r>
              <a:rPr lang="en-ID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bagai</a:t>
            </a:r>
            <a:r>
              <a:rPr lang="en-ID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ngarah</a:t>
            </a:r>
            <a:r>
              <a:rPr lang="en-ID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an/</a:t>
            </a:r>
            <a:r>
              <a:rPr lang="en-ID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tau</a:t>
            </a:r>
            <a:r>
              <a:rPr lang="en-ID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laksana</a:t>
            </a:r>
            <a:r>
              <a:rPr lang="en-ID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lain yang </a:t>
            </a:r>
            <a:r>
              <a:rPr lang="en-ID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ngikuti</a:t>
            </a:r>
            <a:r>
              <a:rPr lang="en-ID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roses </a:t>
            </a:r>
            <a:r>
              <a:rPr lang="en-ID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sensi</a:t>
            </a:r>
            <a:r>
              <a:rPr lang="en-ID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LSBU</a:t>
            </a:r>
            <a:r>
              <a:rPr lang="en-ID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dan </a:t>
            </a:r>
            <a:r>
              <a:rPr lang="en-ID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buktikan</a:t>
            </a:r>
            <a:r>
              <a:rPr lang="en-ID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ngan</a:t>
            </a:r>
            <a:r>
              <a:rPr lang="en-ID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sedur</a:t>
            </a:r>
            <a:r>
              <a:rPr lang="en-ID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yang </a:t>
            </a:r>
            <a:r>
              <a:rPr lang="en-ID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tetapkan</a:t>
            </a:r>
            <a:r>
              <a:rPr lang="en-ID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LSBU.</a:t>
            </a:r>
            <a:endParaRPr kumimoji="0" lang="en-ID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CEBCD5-298E-5996-9944-D54055810C02}"/>
              </a:ext>
            </a:extLst>
          </p:cNvPr>
          <p:cNvSpPr txBox="1"/>
          <p:nvPr/>
        </p:nvSpPr>
        <p:spPr>
          <a:xfrm>
            <a:off x="347157" y="2129100"/>
            <a:ext cx="5629291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suai</a:t>
            </a:r>
            <a:r>
              <a:rPr lang="en-US" b="1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E LPJK </a:t>
            </a:r>
            <a:r>
              <a:rPr lang="en-US" b="1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mor</a:t>
            </a:r>
            <a:r>
              <a:rPr lang="en-US" b="1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02 </a:t>
            </a:r>
            <a:r>
              <a:rPr lang="en-US" b="1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hun</a:t>
            </a:r>
            <a:r>
              <a:rPr lang="en-US" b="1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024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b="1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ntang</a:t>
            </a:r>
            <a:r>
              <a:rPr lang="en-US" b="1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b="1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doman</a:t>
            </a:r>
            <a:r>
              <a:rPr lang="en-US" b="1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Teknis </a:t>
            </a:r>
            <a:r>
              <a:rPr lang="en-US" b="1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nerbitan</a:t>
            </a:r>
            <a:r>
              <a:rPr lang="en-US" b="1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b="1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sensi</a:t>
            </a:r>
            <a:r>
              <a:rPr lang="en-US" b="1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b="1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nambahan</a:t>
            </a:r>
            <a:r>
              <a:rPr lang="en-US" b="1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kema, dan </a:t>
            </a:r>
            <a:r>
              <a:rPr lang="en-US" b="1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panjangan</a:t>
            </a:r>
            <a:r>
              <a:rPr lang="en-US" b="1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b="1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sensi</a:t>
            </a:r>
            <a:r>
              <a:rPr lang="en-US" b="1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LSBU Jasa </a:t>
            </a:r>
            <a:r>
              <a:rPr lang="en-US" b="1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endParaRPr lang="en-US" b="1" dirty="0">
              <a:solidFill>
                <a:schemeClr val="bg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DA84698-7B84-120C-7BC9-92672D737928}"/>
              </a:ext>
            </a:extLst>
          </p:cNvPr>
          <p:cNvSpPr/>
          <p:nvPr/>
        </p:nvSpPr>
        <p:spPr>
          <a:xfrm flipH="1">
            <a:off x="6967905" y="4368175"/>
            <a:ext cx="5178931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kumimoji="0" lang="en-ID" sz="140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toh</a:t>
            </a:r>
            <a:r>
              <a:rPr lang="en-ID" sz="14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pPr marL="342900" indent="-342900">
              <a:buFont typeface="+mj-lt"/>
              <a:buAutoNum type="arabicPeriod"/>
              <a:defRPr/>
            </a:pP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SBU :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SBU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amana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rida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Bhakti </a:t>
            </a:r>
            <a:r>
              <a:rPr lang="en-ID" sz="1400" dirty="0" err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ntukan</a:t>
            </a:r>
            <a:r>
              <a:rPr lang="en-ID" sz="14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14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APENSI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SBU</a:t>
            </a:r>
            <a:r>
              <a:rPr lang="en-ID" sz="14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GN </a:t>
            </a:r>
            <a:r>
              <a:rPr lang="en-ID" sz="1400" b="1" dirty="0" err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sada</a:t>
            </a:r>
            <a:r>
              <a:rPr lang="en-ID" sz="14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1400" dirty="0" err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ntukan</a:t>
            </a:r>
            <a:r>
              <a:rPr lang="en-ID" sz="14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GAPENSI DKI</a:t>
            </a:r>
            <a:endParaRPr kumimoji="0" lang="en-ID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en-ID" sz="14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SP :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ID" sz="14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SP ASTEKINDO KONSTRUKSI MANDIRI </a:t>
            </a:r>
            <a:r>
              <a:rPr lang="en-ID" sz="1400" dirty="0" err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ntukan</a:t>
            </a:r>
            <a:r>
              <a:rPr lang="en-ID" sz="14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STEKINDO</a:t>
            </a:r>
          </a:p>
          <a:p>
            <a:pPr marL="800100" lvl="1" indent="-342900">
              <a:buFont typeface="+mj-lt"/>
              <a:buAutoNum type="alphaLcPeriod"/>
              <a:defRPr/>
            </a:pPr>
            <a:r>
              <a:rPr lang="en-ID" sz="14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SP Bina </a:t>
            </a:r>
            <a:r>
              <a:rPr lang="en-ID" sz="1400" b="1" dirty="0" err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r>
              <a:rPr lang="en-ID" sz="14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Nusantara </a:t>
            </a:r>
            <a:r>
              <a:rPr lang="en-ID" sz="1400" dirty="0" err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ntukan</a:t>
            </a:r>
            <a:r>
              <a:rPr lang="en-ID" sz="14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STEKINDO </a:t>
            </a:r>
            <a:r>
              <a:rPr lang="en-ID" sz="1400" b="1" dirty="0" err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atim</a:t>
            </a:r>
            <a:endParaRPr lang="en-ID" sz="1400" b="1" dirty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86425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Freeform 5">
            <a:extLst>
              <a:ext uri="{FF2B5EF4-FFF2-40B4-BE49-F238E27FC236}">
                <a16:creationId xmlns:a16="http://schemas.microsoft.com/office/drawing/2014/main" id="{8EB3DD78-AA37-19A6-40C1-B497D082A6EF}"/>
              </a:ext>
            </a:extLst>
          </p:cNvPr>
          <p:cNvSpPr/>
          <p:nvPr/>
        </p:nvSpPr>
        <p:spPr>
          <a:xfrm>
            <a:off x="1222970" y="1138655"/>
            <a:ext cx="10002492" cy="540000"/>
          </a:xfrm>
          <a:custGeom>
            <a:avLst/>
            <a:gdLst>
              <a:gd name="connsiteX0" fmla="*/ 0 w 4566783"/>
              <a:gd name="connsiteY0" fmla="*/ 0 h 1427119"/>
              <a:gd name="connsiteX1" fmla="*/ 4566783 w 4566783"/>
              <a:gd name="connsiteY1" fmla="*/ 0 h 1427119"/>
              <a:gd name="connsiteX2" fmla="*/ 4566783 w 4566783"/>
              <a:gd name="connsiteY2" fmla="*/ 1427119 h 1427119"/>
              <a:gd name="connsiteX3" fmla="*/ 0 w 4566783"/>
              <a:gd name="connsiteY3" fmla="*/ 1427119 h 1427119"/>
              <a:gd name="connsiteX4" fmla="*/ 0 w 4566783"/>
              <a:gd name="connsiteY4" fmla="*/ 0 h 1427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6783" h="1427119">
                <a:moveTo>
                  <a:pt x="0" y="0"/>
                </a:moveTo>
                <a:lnTo>
                  <a:pt x="4566783" y="0"/>
                </a:lnTo>
                <a:lnTo>
                  <a:pt x="4566783" y="1427119"/>
                </a:lnTo>
                <a:lnTo>
                  <a:pt x="0" y="142711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66636" tIns="133350" rIns="133350" bIns="133350" numCol="1" spcCol="1270" anchor="ctr" anchorCtr="0">
            <a:noAutofit/>
          </a:bodyPr>
          <a:lstStyle/>
          <a:p>
            <a:pPr lvl="0" algn="l" defTabSz="1555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500" b="1" kern="1200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P No. 14 </a:t>
            </a:r>
            <a:r>
              <a:rPr lang="en-US" sz="1500" b="1" kern="1200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hun</a:t>
            </a:r>
            <a:r>
              <a:rPr lang="en-US" sz="1500" b="1" kern="1200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021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ubahan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tas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aturan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merintah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mor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2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hun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020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ntang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aturan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laksanaan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dang-undang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mor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hun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017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ntang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Jasa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endParaRPr lang="en-US" sz="15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D22292B5-2B15-E54C-F796-F7D6E6C73FF6}"/>
              </a:ext>
            </a:extLst>
          </p:cNvPr>
          <p:cNvSpPr/>
          <p:nvPr/>
        </p:nvSpPr>
        <p:spPr>
          <a:xfrm>
            <a:off x="857590" y="1022118"/>
            <a:ext cx="1125231" cy="54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4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79" name="Freeform 7">
            <a:extLst>
              <a:ext uri="{FF2B5EF4-FFF2-40B4-BE49-F238E27FC236}">
                <a16:creationId xmlns:a16="http://schemas.microsoft.com/office/drawing/2014/main" id="{8D901614-0146-FCE0-6200-50875CCC5FD2}"/>
              </a:ext>
            </a:extLst>
          </p:cNvPr>
          <p:cNvSpPr/>
          <p:nvPr/>
        </p:nvSpPr>
        <p:spPr>
          <a:xfrm>
            <a:off x="1222970" y="3213331"/>
            <a:ext cx="10002492" cy="540000"/>
          </a:xfrm>
          <a:custGeom>
            <a:avLst/>
            <a:gdLst>
              <a:gd name="connsiteX0" fmla="*/ 0 w 4566783"/>
              <a:gd name="connsiteY0" fmla="*/ 0 h 1427119"/>
              <a:gd name="connsiteX1" fmla="*/ 4566783 w 4566783"/>
              <a:gd name="connsiteY1" fmla="*/ 0 h 1427119"/>
              <a:gd name="connsiteX2" fmla="*/ 4566783 w 4566783"/>
              <a:gd name="connsiteY2" fmla="*/ 1427119 h 1427119"/>
              <a:gd name="connsiteX3" fmla="*/ 0 w 4566783"/>
              <a:gd name="connsiteY3" fmla="*/ 1427119 h 1427119"/>
              <a:gd name="connsiteX4" fmla="*/ 0 w 4566783"/>
              <a:gd name="connsiteY4" fmla="*/ 0 h 1427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6783" h="1427119">
                <a:moveTo>
                  <a:pt x="0" y="0"/>
                </a:moveTo>
                <a:lnTo>
                  <a:pt x="4566783" y="0"/>
                </a:lnTo>
                <a:lnTo>
                  <a:pt x="4566783" y="1427119"/>
                </a:lnTo>
                <a:lnTo>
                  <a:pt x="0" y="142711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66636" tIns="133350" rIns="133350" bIns="133350" numCol="1" spcCol="1270" anchor="ctr" anchorCtr="0">
            <a:noAutofit/>
          </a:bodyPr>
          <a:lstStyle/>
          <a:p>
            <a:pPr lvl="0" algn="l" defTabSz="1555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500" b="1" kern="1200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men PUPR No. 08 </a:t>
            </a:r>
            <a:r>
              <a:rPr lang="en-US" sz="1500" b="1" kern="1200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hun</a:t>
            </a:r>
            <a:r>
              <a:rPr lang="en-US" sz="1500" b="1" kern="1200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022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ID" sz="1500" b="0" i="0" dirty="0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ta Cara </a:t>
            </a:r>
            <a:r>
              <a:rPr lang="en-ID" sz="1500" b="0" i="0" dirty="0" err="1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laksanaan</a:t>
            </a:r>
            <a:r>
              <a:rPr lang="en-ID" sz="1500" b="0" i="0" dirty="0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1500" b="0" i="0" dirty="0" err="1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menuhan</a:t>
            </a:r>
            <a:r>
              <a:rPr lang="en-ID" sz="1500" b="0" i="0" dirty="0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1500" b="0" i="0" dirty="0" err="1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rtifikat</a:t>
            </a:r>
            <a:r>
              <a:rPr lang="en-ID" sz="1500" b="0" i="0" dirty="0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1500" b="0" i="0" dirty="0" err="1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andar</a:t>
            </a:r>
            <a:r>
              <a:rPr lang="en-ID" sz="1500" b="0" i="0" dirty="0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Jasa </a:t>
            </a:r>
            <a:r>
              <a:rPr lang="en-ID" sz="1500" b="0" i="0" dirty="0" err="1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r>
              <a:rPr lang="en-ID" sz="1500" b="0" i="0" dirty="0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1500" b="0" i="0" dirty="0" err="1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lam</a:t>
            </a:r>
            <a:r>
              <a:rPr lang="en-ID" sz="1500" b="0" i="0" dirty="0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1500" b="0" i="0" dirty="0" err="1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ngka</a:t>
            </a:r>
            <a:r>
              <a:rPr lang="en-ID" sz="1500" b="0" i="0" dirty="0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1500" b="0" i="0" dirty="0" err="1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ndukung</a:t>
            </a:r>
            <a:r>
              <a:rPr lang="en-ID" sz="1500" b="0" i="0" dirty="0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1500" b="0" i="0" dirty="0" err="1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mudahan</a:t>
            </a:r>
            <a:r>
              <a:rPr lang="en-ID" sz="1500" b="0" i="0" dirty="0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1500" b="0" i="0" dirty="0" err="1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izinan</a:t>
            </a:r>
            <a:r>
              <a:rPr lang="en-ID" sz="1500" b="0" i="0" dirty="0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1500" b="0" i="0" dirty="0" err="1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rusaha</a:t>
            </a:r>
            <a:r>
              <a:rPr lang="en-ID" sz="1500" b="0" i="0" dirty="0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1500" b="0" i="0" dirty="0" err="1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gi</a:t>
            </a:r>
            <a:r>
              <a:rPr lang="en-ID" sz="1500" b="0" i="0" dirty="0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1500" b="0" i="0" dirty="0" err="1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laku</a:t>
            </a:r>
            <a:r>
              <a:rPr lang="en-ID" sz="1500" b="0" i="0" dirty="0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Usaha Jasa </a:t>
            </a:r>
            <a:r>
              <a:rPr lang="en-ID" sz="1500" b="0" i="0" dirty="0" err="1">
                <a:solidFill>
                  <a:srgbClr val="11111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endParaRPr lang="en-US" sz="15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B6E60345-B9B9-3912-0F1C-ECDBA6065D20}"/>
              </a:ext>
            </a:extLst>
          </p:cNvPr>
          <p:cNvSpPr/>
          <p:nvPr/>
        </p:nvSpPr>
        <p:spPr>
          <a:xfrm>
            <a:off x="857590" y="3120857"/>
            <a:ext cx="1125231" cy="54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tint val="50000"/>
              <a:hueOff val="2289505"/>
              <a:satOff val="-12031"/>
              <a:lumOff val="-871"/>
              <a:alphaOff val="0"/>
            </a:schemeClr>
          </a:fillRef>
          <a:effectRef idx="0">
            <a:schemeClr val="accent4">
              <a:tint val="50000"/>
              <a:hueOff val="2289505"/>
              <a:satOff val="-12031"/>
              <a:lumOff val="-871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81" name="Freeform 9">
            <a:extLst>
              <a:ext uri="{FF2B5EF4-FFF2-40B4-BE49-F238E27FC236}">
                <a16:creationId xmlns:a16="http://schemas.microsoft.com/office/drawing/2014/main" id="{BF436E87-C64F-1206-F370-556575726FAD}"/>
              </a:ext>
            </a:extLst>
          </p:cNvPr>
          <p:cNvSpPr/>
          <p:nvPr/>
        </p:nvSpPr>
        <p:spPr>
          <a:xfrm>
            <a:off x="1222970" y="1841951"/>
            <a:ext cx="10002492" cy="540000"/>
          </a:xfrm>
          <a:custGeom>
            <a:avLst/>
            <a:gdLst>
              <a:gd name="connsiteX0" fmla="*/ 0 w 4566783"/>
              <a:gd name="connsiteY0" fmla="*/ 0 h 1427119"/>
              <a:gd name="connsiteX1" fmla="*/ 4566783 w 4566783"/>
              <a:gd name="connsiteY1" fmla="*/ 0 h 1427119"/>
              <a:gd name="connsiteX2" fmla="*/ 4566783 w 4566783"/>
              <a:gd name="connsiteY2" fmla="*/ 1427119 h 1427119"/>
              <a:gd name="connsiteX3" fmla="*/ 0 w 4566783"/>
              <a:gd name="connsiteY3" fmla="*/ 1427119 h 1427119"/>
              <a:gd name="connsiteX4" fmla="*/ 0 w 4566783"/>
              <a:gd name="connsiteY4" fmla="*/ 0 h 1427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6783" h="1427119">
                <a:moveTo>
                  <a:pt x="0" y="0"/>
                </a:moveTo>
                <a:lnTo>
                  <a:pt x="4566783" y="0"/>
                </a:lnTo>
                <a:lnTo>
                  <a:pt x="4566783" y="1427119"/>
                </a:lnTo>
                <a:lnTo>
                  <a:pt x="0" y="142711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66636" tIns="133350" rIns="133350" bIns="133350" numCol="1" spcCol="1270" anchor="ctr" anchorCtr="0">
            <a:noAutofit/>
          </a:bodyPr>
          <a:lstStyle/>
          <a:p>
            <a:pPr lvl="0" algn="l" defTabSz="1555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500" b="1" kern="1200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P No. 05 </a:t>
            </a:r>
            <a:r>
              <a:rPr lang="en-US" sz="1500" b="1" kern="1200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hun</a:t>
            </a:r>
            <a:r>
              <a:rPr lang="en-US" sz="1500" b="1" kern="1200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021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nyelenggaraan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izinan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rusaha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rbasis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isiko</a:t>
            </a:r>
            <a:endParaRPr lang="en-US" sz="15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24C0BFE3-3C6E-7007-0195-86BCDA4E5B20}"/>
              </a:ext>
            </a:extLst>
          </p:cNvPr>
          <p:cNvSpPr/>
          <p:nvPr/>
        </p:nvSpPr>
        <p:spPr>
          <a:xfrm>
            <a:off x="857590" y="1725412"/>
            <a:ext cx="1125231" cy="54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tint val="50000"/>
              <a:hueOff val="4579010"/>
              <a:satOff val="-24062"/>
              <a:lumOff val="-1741"/>
              <a:alphaOff val="0"/>
            </a:schemeClr>
          </a:fillRef>
          <a:effectRef idx="0">
            <a:schemeClr val="accent4">
              <a:tint val="50000"/>
              <a:hueOff val="4579010"/>
              <a:satOff val="-24062"/>
              <a:lumOff val="-1741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90" name="Freeform 11">
            <a:extLst>
              <a:ext uri="{FF2B5EF4-FFF2-40B4-BE49-F238E27FC236}">
                <a16:creationId xmlns:a16="http://schemas.microsoft.com/office/drawing/2014/main" id="{36F0E3BF-2E21-CBE3-3543-9645B3191E3C}"/>
              </a:ext>
            </a:extLst>
          </p:cNvPr>
          <p:cNvSpPr/>
          <p:nvPr/>
        </p:nvSpPr>
        <p:spPr>
          <a:xfrm>
            <a:off x="1222970" y="3912890"/>
            <a:ext cx="10002492" cy="540000"/>
          </a:xfrm>
          <a:custGeom>
            <a:avLst/>
            <a:gdLst>
              <a:gd name="connsiteX0" fmla="*/ 0 w 4566783"/>
              <a:gd name="connsiteY0" fmla="*/ 0 h 1427119"/>
              <a:gd name="connsiteX1" fmla="*/ 4566783 w 4566783"/>
              <a:gd name="connsiteY1" fmla="*/ 0 h 1427119"/>
              <a:gd name="connsiteX2" fmla="*/ 4566783 w 4566783"/>
              <a:gd name="connsiteY2" fmla="*/ 1427119 h 1427119"/>
              <a:gd name="connsiteX3" fmla="*/ 0 w 4566783"/>
              <a:gd name="connsiteY3" fmla="*/ 1427119 h 1427119"/>
              <a:gd name="connsiteX4" fmla="*/ 0 w 4566783"/>
              <a:gd name="connsiteY4" fmla="*/ 0 h 1427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6783" h="1427119">
                <a:moveTo>
                  <a:pt x="0" y="0"/>
                </a:moveTo>
                <a:lnTo>
                  <a:pt x="4566783" y="0"/>
                </a:lnTo>
                <a:lnTo>
                  <a:pt x="4566783" y="1427119"/>
                </a:lnTo>
                <a:lnTo>
                  <a:pt x="0" y="142711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66636" tIns="133350" rIns="133350" bIns="133350" numCol="1" spcCol="1270" anchor="ctr" anchorCtr="0">
            <a:noAutofit/>
          </a:bodyPr>
          <a:lstStyle/>
          <a:p>
            <a:pPr lvl="0" algn="l" defTabSz="1555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500" b="1" kern="1200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K </a:t>
            </a:r>
            <a:r>
              <a:rPr lang="en-US" sz="1500" b="1" kern="1200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rjen</a:t>
            </a:r>
            <a:r>
              <a:rPr lang="en-US" sz="1500" b="1" kern="1200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JBK No. </a:t>
            </a:r>
            <a:r>
              <a:rPr lang="en-US" sz="1500" b="1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44</a:t>
            </a:r>
            <a:r>
              <a:rPr lang="en-US" sz="1500" b="1" kern="1200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b="1" kern="1200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hun</a:t>
            </a:r>
            <a:r>
              <a:rPr lang="en-US" sz="1500" b="1" kern="1200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022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netapan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andar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kema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rtifikasi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Badan Usaha Jasa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endParaRPr lang="en-US" sz="15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2F790778-4E53-F924-4E4D-42989E21CA40}"/>
              </a:ext>
            </a:extLst>
          </p:cNvPr>
          <p:cNvSpPr/>
          <p:nvPr/>
        </p:nvSpPr>
        <p:spPr>
          <a:xfrm>
            <a:off x="857590" y="3796351"/>
            <a:ext cx="1125231" cy="54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tint val="50000"/>
              <a:hueOff val="6868515"/>
              <a:satOff val="-36094"/>
              <a:lumOff val="-2612"/>
              <a:alphaOff val="0"/>
            </a:schemeClr>
          </a:fillRef>
          <a:effectRef idx="0">
            <a:schemeClr val="accent4">
              <a:tint val="50000"/>
              <a:hueOff val="6868515"/>
              <a:satOff val="-36094"/>
              <a:lumOff val="-2612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93" name="Freeform 13">
            <a:extLst>
              <a:ext uri="{FF2B5EF4-FFF2-40B4-BE49-F238E27FC236}">
                <a16:creationId xmlns:a16="http://schemas.microsoft.com/office/drawing/2014/main" id="{704C5182-1484-AFD6-A926-E4B989AA6E9E}"/>
              </a:ext>
            </a:extLst>
          </p:cNvPr>
          <p:cNvSpPr/>
          <p:nvPr/>
        </p:nvSpPr>
        <p:spPr>
          <a:xfrm>
            <a:off x="1222969" y="2535172"/>
            <a:ext cx="10002493" cy="540000"/>
          </a:xfrm>
          <a:custGeom>
            <a:avLst/>
            <a:gdLst>
              <a:gd name="connsiteX0" fmla="*/ 0 w 4566783"/>
              <a:gd name="connsiteY0" fmla="*/ 0 h 1427119"/>
              <a:gd name="connsiteX1" fmla="*/ 4566783 w 4566783"/>
              <a:gd name="connsiteY1" fmla="*/ 0 h 1427119"/>
              <a:gd name="connsiteX2" fmla="*/ 4566783 w 4566783"/>
              <a:gd name="connsiteY2" fmla="*/ 1427119 h 1427119"/>
              <a:gd name="connsiteX3" fmla="*/ 0 w 4566783"/>
              <a:gd name="connsiteY3" fmla="*/ 1427119 h 1427119"/>
              <a:gd name="connsiteX4" fmla="*/ 0 w 4566783"/>
              <a:gd name="connsiteY4" fmla="*/ 0 h 1427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6783" h="1427119">
                <a:moveTo>
                  <a:pt x="0" y="0"/>
                </a:moveTo>
                <a:lnTo>
                  <a:pt x="4566783" y="0"/>
                </a:lnTo>
                <a:lnTo>
                  <a:pt x="4566783" y="1427119"/>
                </a:lnTo>
                <a:lnTo>
                  <a:pt x="0" y="142711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66636" tIns="133350" rIns="133350" bIns="133350" numCol="1" spcCol="1270" anchor="ctr" anchorCtr="0">
            <a:noAutofit/>
          </a:bodyPr>
          <a:lstStyle/>
          <a:p>
            <a:pPr lvl="0" algn="l" defTabSz="1555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500" b="1" kern="1200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men PUPR No. 06 </a:t>
            </a:r>
            <a:r>
              <a:rPr lang="en-US" sz="1500" b="1" kern="1200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hun</a:t>
            </a:r>
            <a:r>
              <a:rPr lang="en-US" sz="1500" b="1" kern="1200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021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andar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giatan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Usaha Dan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duk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ada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nyelenggaraan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izinan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rusaha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rbasis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isiko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ektor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kerjaan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mum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an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umahan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Rakyat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21861941-21C6-8450-91AA-76BAE07945E3}"/>
              </a:ext>
            </a:extLst>
          </p:cNvPr>
          <p:cNvSpPr/>
          <p:nvPr/>
        </p:nvSpPr>
        <p:spPr>
          <a:xfrm>
            <a:off x="857590" y="2418634"/>
            <a:ext cx="1125231" cy="54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tint val="50000"/>
              <a:hueOff val="9158019"/>
              <a:satOff val="-48125"/>
              <a:lumOff val="-3482"/>
              <a:alphaOff val="0"/>
            </a:schemeClr>
          </a:fillRef>
          <a:effectRef idx="0">
            <a:schemeClr val="accent4">
              <a:tint val="50000"/>
              <a:hueOff val="9158019"/>
              <a:satOff val="-48125"/>
              <a:lumOff val="-3482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97" name="Freeform 15">
            <a:extLst>
              <a:ext uri="{FF2B5EF4-FFF2-40B4-BE49-F238E27FC236}">
                <a16:creationId xmlns:a16="http://schemas.microsoft.com/office/drawing/2014/main" id="{1A78DDAB-019E-C9C1-5FC3-C35DE1EDCFA1}"/>
              </a:ext>
            </a:extLst>
          </p:cNvPr>
          <p:cNvSpPr/>
          <p:nvPr/>
        </p:nvSpPr>
        <p:spPr>
          <a:xfrm>
            <a:off x="1222970" y="4603957"/>
            <a:ext cx="10002492" cy="540000"/>
          </a:xfrm>
          <a:custGeom>
            <a:avLst/>
            <a:gdLst>
              <a:gd name="connsiteX0" fmla="*/ 0 w 4566783"/>
              <a:gd name="connsiteY0" fmla="*/ 0 h 1427119"/>
              <a:gd name="connsiteX1" fmla="*/ 4566783 w 4566783"/>
              <a:gd name="connsiteY1" fmla="*/ 0 h 1427119"/>
              <a:gd name="connsiteX2" fmla="*/ 4566783 w 4566783"/>
              <a:gd name="connsiteY2" fmla="*/ 1427119 h 1427119"/>
              <a:gd name="connsiteX3" fmla="*/ 0 w 4566783"/>
              <a:gd name="connsiteY3" fmla="*/ 1427119 h 1427119"/>
              <a:gd name="connsiteX4" fmla="*/ 0 w 4566783"/>
              <a:gd name="connsiteY4" fmla="*/ 0 h 1427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6783" h="1427119">
                <a:moveTo>
                  <a:pt x="0" y="0"/>
                </a:moveTo>
                <a:lnTo>
                  <a:pt x="4566783" y="0"/>
                </a:lnTo>
                <a:lnTo>
                  <a:pt x="4566783" y="1427119"/>
                </a:lnTo>
                <a:lnTo>
                  <a:pt x="0" y="142711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66636" tIns="133350" rIns="133350" bIns="133350" numCol="1" spcCol="1270" anchor="ctr" anchorCtr="0">
            <a:noAutofit/>
          </a:bodyPr>
          <a:lstStyle/>
          <a:p>
            <a:pPr lvl="0" algn="l" defTabSz="1555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500" b="1" kern="1200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 </a:t>
            </a:r>
            <a:r>
              <a:rPr lang="en-US" sz="1500" b="1" kern="1200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tua</a:t>
            </a:r>
            <a:r>
              <a:rPr lang="en-US" sz="1500" b="1" kern="1200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LPJK  No. 02 </a:t>
            </a:r>
            <a:r>
              <a:rPr lang="en-US" sz="1500" b="1" kern="1200" dirty="0" err="1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hun</a:t>
            </a:r>
            <a:r>
              <a:rPr lang="en-US" sz="1500" b="1" kern="1200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024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doman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Teknis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nerbitan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sensi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nambahan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kema, dan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panjangan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sensi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Lembaga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rtifikasi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Badan Usaha Jasa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endParaRPr lang="en-US" sz="15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7BA79DB5-32E7-8127-AEC6-8313962AB252}"/>
              </a:ext>
            </a:extLst>
          </p:cNvPr>
          <p:cNvSpPr/>
          <p:nvPr/>
        </p:nvSpPr>
        <p:spPr>
          <a:xfrm>
            <a:off x="857590" y="4487419"/>
            <a:ext cx="1125231" cy="54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tint val="50000"/>
              <a:hueOff val="11447524"/>
              <a:satOff val="-60156"/>
              <a:lumOff val="-4353"/>
              <a:alphaOff val="0"/>
            </a:schemeClr>
          </a:fillRef>
          <a:effectRef idx="0">
            <a:schemeClr val="accent4">
              <a:tint val="50000"/>
              <a:hueOff val="11447524"/>
              <a:satOff val="-60156"/>
              <a:lumOff val="-4353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DD801B70-AF03-B06B-72E6-406D728D2055}"/>
              </a:ext>
            </a:extLst>
          </p:cNvPr>
          <p:cNvSpPr txBox="1"/>
          <p:nvPr/>
        </p:nvSpPr>
        <p:spPr>
          <a:xfrm>
            <a:off x="1221784" y="1049851"/>
            <a:ext cx="5582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F297EB39-B688-872E-2077-F0CDE2AC6642}"/>
              </a:ext>
            </a:extLst>
          </p:cNvPr>
          <p:cNvSpPr txBox="1"/>
          <p:nvPr/>
        </p:nvSpPr>
        <p:spPr>
          <a:xfrm>
            <a:off x="1221783" y="1722925"/>
            <a:ext cx="5582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7D4E42C0-6881-DFE1-813B-2E1BFFFBB56B}"/>
              </a:ext>
            </a:extLst>
          </p:cNvPr>
          <p:cNvSpPr txBox="1"/>
          <p:nvPr/>
        </p:nvSpPr>
        <p:spPr>
          <a:xfrm>
            <a:off x="1187539" y="2402750"/>
            <a:ext cx="558205" cy="370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8B41077E-8B76-B934-907E-DB41EC8757C0}"/>
              </a:ext>
            </a:extLst>
          </p:cNvPr>
          <p:cNvSpPr txBox="1"/>
          <p:nvPr/>
        </p:nvSpPr>
        <p:spPr>
          <a:xfrm>
            <a:off x="1187539" y="3186974"/>
            <a:ext cx="5582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.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D531874A-0BD7-1942-0663-8EB5EE6A0C50}"/>
              </a:ext>
            </a:extLst>
          </p:cNvPr>
          <p:cNvSpPr txBox="1"/>
          <p:nvPr/>
        </p:nvSpPr>
        <p:spPr>
          <a:xfrm>
            <a:off x="1219970" y="3825174"/>
            <a:ext cx="5582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.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C86D846-0388-1F54-C2C2-972C84F314D2}"/>
              </a:ext>
            </a:extLst>
          </p:cNvPr>
          <p:cNvSpPr txBox="1"/>
          <p:nvPr/>
        </p:nvSpPr>
        <p:spPr>
          <a:xfrm>
            <a:off x="1219969" y="4575369"/>
            <a:ext cx="5582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.</a:t>
            </a:r>
          </a:p>
        </p:txBody>
      </p:sp>
      <p:sp>
        <p:nvSpPr>
          <p:cNvPr id="31" name="Freeform 15">
            <a:extLst>
              <a:ext uri="{FF2B5EF4-FFF2-40B4-BE49-F238E27FC236}">
                <a16:creationId xmlns:a16="http://schemas.microsoft.com/office/drawing/2014/main" id="{52D87803-B7CD-4AA5-8BEB-E63F39DEDFA2}"/>
              </a:ext>
            </a:extLst>
          </p:cNvPr>
          <p:cNvSpPr/>
          <p:nvPr/>
        </p:nvSpPr>
        <p:spPr>
          <a:xfrm>
            <a:off x="1222970" y="5304174"/>
            <a:ext cx="10002492" cy="540000"/>
          </a:xfrm>
          <a:custGeom>
            <a:avLst/>
            <a:gdLst>
              <a:gd name="connsiteX0" fmla="*/ 0 w 4566783"/>
              <a:gd name="connsiteY0" fmla="*/ 0 h 1427119"/>
              <a:gd name="connsiteX1" fmla="*/ 4566783 w 4566783"/>
              <a:gd name="connsiteY1" fmla="*/ 0 h 1427119"/>
              <a:gd name="connsiteX2" fmla="*/ 4566783 w 4566783"/>
              <a:gd name="connsiteY2" fmla="*/ 1427119 h 1427119"/>
              <a:gd name="connsiteX3" fmla="*/ 0 w 4566783"/>
              <a:gd name="connsiteY3" fmla="*/ 1427119 h 1427119"/>
              <a:gd name="connsiteX4" fmla="*/ 0 w 4566783"/>
              <a:gd name="connsiteY4" fmla="*/ 0 h 1427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6783" h="1427119">
                <a:moveTo>
                  <a:pt x="0" y="0"/>
                </a:moveTo>
                <a:lnTo>
                  <a:pt x="4566783" y="0"/>
                </a:lnTo>
                <a:lnTo>
                  <a:pt x="4566783" y="1427119"/>
                </a:lnTo>
                <a:lnTo>
                  <a:pt x="0" y="142711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66636" tIns="133350" rIns="133350" bIns="133350" numCol="1" spcCol="1270" anchor="ctr" anchorCtr="0">
            <a:noAutofit/>
          </a:bodyPr>
          <a:lstStyle/>
          <a:p>
            <a:pPr lvl="0" algn="l" defTabSz="1555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500" b="1" kern="1200" dirty="0">
                <a:solidFill>
                  <a:srgbClr val="174A9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NI ISO/IEC 17065:2012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nilaian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sesuaian</a:t>
            </a:r>
            <a:r>
              <a:rPr lang="en-US" sz="15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syaratan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tuk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Lembaga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rtifikasi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kern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duk</a:t>
            </a:r>
            <a:r>
              <a:rPr lang="en-US" sz="15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Proses dan Jasa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F15062F-A339-4A34-994F-842B6AFD6B86}"/>
              </a:ext>
            </a:extLst>
          </p:cNvPr>
          <p:cNvSpPr/>
          <p:nvPr/>
        </p:nvSpPr>
        <p:spPr>
          <a:xfrm>
            <a:off x="857590" y="5187636"/>
            <a:ext cx="1125231" cy="54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tint val="50000"/>
              <a:hueOff val="11447524"/>
              <a:satOff val="-60156"/>
              <a:lumOff val="-4353"/>
              <a:alphaOff val="0"/>
            </a:schemeClr>
          </a:fillRef>
          <a:effectRef idx="0">
            <a:schemeClr val="accent4">
              <a:tint val="50000"/>
              <a:hueOff val="11447524"/>
              <a:satOff val="-60156"/>
              <a:lumOff val="-4353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95A29C9-E174-443D-B9C1-15FB94F1889D}"/>
              </a:ext>
            </a:extLst>
          </p:cNvPr>
          <p:cNvSpPr txBox="1"/>
          <p:nvPr/>
        </p:nvSpPr>
        <p:spPr>
          <a:xfrm>
            <a:off x="1219969" y="5251885"/>
            <a:ext cx="5582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.</a:t>
            </a:r>
          </a:p>
        </p:txBody>
      </p:sp>
      <p:pic>
        <p:nvPicPr>
          <p:cNvPr id="2" name="Picture 1" descr="lgo sigap.png">
            <a:extLst>
              <a:ext uri="{FF2B5EF4-FFF2-40B4-BE49-F238E27FC236}">
                <a16:creationId xmlns:a16="http://schemas.microsoft.com/office/drawing/2014/main" id="{5C8CA86D-DE2E-ECB8-63DA-2FE728EBE9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3" name="Round Same Side Corner Rectangle 1">
            <a:extLst>
              <a:ext uri="{FF2B5EF4-FFF2-40B4-BE49-F238E27FC236}">
                <a16:creationId xmlns:a16="http://schemas.microsoft.com/office/drawing/2014/main" id="{E3DC81B8-A5B1-F4FE-9A77-0E094E36F4F6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7881586-FDD7-EDAF-75DA-3DC96AC35A4F}"/>
              </a:ext>
            </a:extLst>
          </p:cNvPr>
          <p:cNvSpPr txBox="1">
            <a:spLocks/>
          </p:cNvSpPr>
          <p:nvPr/>
        </p:nvSpPr>
        <p:spPr>
          <a:xfrm>
            <a:off x="176914" y="169726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600" b="1" dirty="0">
                <a:solidFill>
                  <a:prstClr val="black"/>
                </a:solidFill>
                <a:latin typeface="Segoe UI"/>
              </a:rPr>
              <a:t>STANDAR ACUAN PELAKSANAAN LISENSI LSBU</a:t>
            </a:r>
          </a:p>
          <a:p>
            <a:pPr>
              <a:lnSpc>
                <a:spcPct val="100000"/>
              </a:lnSpc>
              <a:defRPr/>
            </a:pPr>
            <a:endParaRPr lang="fi-FI" sz="2600" b="1" dirty="0">
              <a:solidFill>
                <a:prstClr val="black"/>
              </a:solidFill>
              <a:latin typeface="Segoe U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FDB9206-BB7A-AF97-3794-0D8B60E732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0C577A01-8D4B-FA0C-5F22-2D9AA1C0CE1F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878E513C-5826-B2E6-8EBD-95F42BED21F6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1DE60A3E-BE85-F4BC-FB9B-20488C7EF632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C7D369AA-6B3F-A7E6-4CF4-AF4BBAB22FCD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201147A8-16D9-5246-550C-04AF2DB1C3A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24433634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B25EC32E-EDE3-323E-C39C-0EA31C4856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DD83D7DD-CBEA-130C-8FB9-705650BFFC17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67A64BE0-290B-2170-78CC-DDD20DF3EACC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2DC88595-6E28-62BA-4323-E11EAB68FCAD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3CC1186C-23EB-601E-3790-99904146D55D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A5A6369E-5BDC-418C-7058-B32F40A937A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grpSp>
        <p:nvGrpSpPr>
          <p:cNvPr id="5" name="Google Shape;529;p20">
            <a:extLst>
              <a:ext uri="{FF2B5EF4-FFF2-40B4-BE49-F238E27FC236}">
                <a16:creationId xmlns:a16="http://schemas.microsoft.com/office/drawing/2014/main" id="{AC6AFCC2-12C9-0173-7196-1321508A295D}"/>
              </a:ext>
            </a:extLst>
          </p:cNvPr>
          <p:cNvGrpSpPr/>
          <p:nvPr/>
        </p:nvGrpSpPr>
        <p:grpSpPr>
          <a:xfrm>
            <a:off x="2319551" y="1317293"/>
            <a:ext cx="3988443" cy="1911346"/>
            <a:chOff x="2227883" y="1198680"/>
            <a:chExt cx="2835932" cy="1433510"/>
          </a:xfrm>
        </p:grpSpPr>
        <p:sp>
          <p:nvSpPr>
            <p:cNvPr id="6" name="Google Shape;530;p20">
              <a:extLst>
                <a:ext uri="{FF2B5EF4-FFF2-40B4-BE49-F238E27FC236}">
                  <a16:creationId xmlns:a16="http://schemas.microsoft.com/office/drawing/2014/main" id="{1BB28756-9633-164C-1242-FF55D80ED0E5}"/>
                </a:ext>
              </a:extLst>
            </p:cNvPr>
            <p:cNvSpPr txBox="1"/>
            <p:nvPr/>
          </p:nvSpPr>
          <p:spPr>
            <a:xfrm>
              <a:off x="2227883" y="1454974"/>
              <a:ext cx="2835932" cy="117721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304792" marR="0" lvl="0" indent="-30479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600"/>
                <a:buFont typeface="Calibri"/>
                <a:buAutoNum type="alphaLcPeriod"/>
              </a:pP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menyelenggarakan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proses Sertifikasi Badan Usaha sesuai dengan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ketentuan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peraturan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perundang-undangan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;</a:t>
              </a:r>
              <a:endParaRPr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04792" marR="0" lvl="0" indent="-30479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600"/>
                <a:buFont typeface="Calibri"/>
                <a:buAutoNum type="alphaLcPeriod"/>
              </a:pP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memberikan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sanksi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kepada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asesor badan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usaha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; dan</a:t>
              </a:r>
              <a:endParaRPr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04792" marR="0" lvl="0" indent="-30479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600"/>
                <a:buFont typeface="Calibri"/>
                <a:buAutoNum type="alphaLcPeriod"/>
              </a:pP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mengusulkan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skema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sertifikasi.</a:t>
              </a:r>
              <a:endParaRPr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" name="Google Shape;531;p20">
              <a:extLst>
                <a:ext uri="{FF2B5EF4-FFF2-40B4-BE49-F238E27FC236}">
                  <a16:creationId xmlns:a16="http://schemas.microsoft.com/office/drawing/2014/main" id="{D718BA54-8174-E2FB-B5B1-90C5C9EBF8D3}"/>
                </a:ext>
              </a:extLst>
            </p:cNvPr>
            <p:cNvSpPr txBox="1"/>
            <p:nvPr/>
          </p:nvSpPr>
          <p:spPr>
            <a:xfrm>
              <a:off x="2227883" y="1198680"/>
              <a:ext cx="2835932" cy="25391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600"/>
                <a:buFont typeface="Calibri"/>
                <a:buNone/>
              </a:pPr>
              <a:r>
                <a:rPr lang="en-US" sz="1600" b="1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Wewenang</a:t>
              </a:r>
              <a:endParaRPr sz="1600" b="1" i="0" u="none" strike="noStrike" cap="none" dirty="0">
                <a:solidFill>
                  <a:srgbClr val="3F3F3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endParaRPr>
            </a:p>
          </p:txBody>
        </p:sp>
      </p:grpSp>
      <p:grpSp>
        <p:nvGrpSpPr>
          <p:cNvPr id="9" name="Google Shape;532;p20">
            <a:extLst>
              <a:ext uri="{FF2B5EF4-FFF2-40B4-BE49-F238E27FC236}">
                <a16:creationId xmlns:a16="http://schemas.microsoft.com/office/drawing/2014/main" id="{4BB91235-1047-BC1C-2B59-A7E585133357}"/>
              </a:ext>
            </a:extLst>
          </p:cNvPr>
          <p:cNvGrpSpPr/>
          <p:nvPr/>
        </p:nvGrpSpPr>
        <p:grpSpPr>
          <a:xfrm>
            <a:off x="6744236" y="1323591"/>
            <a:ext cx="5279463" cy="3605102"/>
            <a:chOff x="2153750" y="1158790"/>
            <a:chExt cx="2835932" cy="2703827"/>
          </a:xfrm>
        </p:grpSpPr>
        <p:sp>
          <p:nvSpPr>
            <p:cNvPr id="10" name="Google Shape;533;p20">
              <a:extLst>
                <a:ext uri="{FF2B5EF4-FFF2-40B4-BE49-F238E27FC236}">
                  <a16:creationId xmlns:a16="http://schemas.microsoft.com/office/drawing/2014/main" id="{CBE5EBB7-FF31-A760-5B93-A4A2BA6AEE89}"/>
                </a:ext>
              </a:extLst>
            </p:cNvPr>
            <p:cNvSpPr txBox="1"/>
            <p:nvPr/>
          </p:nvSpPr>
          <p:spPr>
            <a:xfrm>
              <a:off x="2153750" y="1392739"/>
              <a:ext cx="2835932" cy="246987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304792" marR="0" lvl="0" indent="-304792" algn="just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600"/>
                <a:buFont typeface="Calibri"/>
                <a:buAutoNum type="alphaLcPeriod"/>
              </a:pP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menyusun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program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kerja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tahunan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; </a:t>
              </a:r>
              <a:endParaRPr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04792" marR="0" lvl="0" indent="-304792" algn="just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600"/>
                <a:buFont typeface="Calibri"/>
                <a:buAutoNum type="alphaLcPeriod"/>
              </a:pP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menyusun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dan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mengembangkan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skema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sertifikasi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; </a:t>
              </a:r>
              <a:endParaRPr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04792" marR="0" lvl="0" indent="-304792" algn="just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600"/>
                <a:buFont typeface="Calibri"/>
                <a:buAutoNum type="alphaLcPeriod"/>
              </a:pP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membuat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perangkat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penilaian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kelayakan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badan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usaha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;</a:t>
              </a:r>
              <a:endParaRPr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04792" marR="0" lvl="0" indent="-304792" algn="just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600"/>
                <a:buFont typeface="Calibri"/>
                <a:buAutoNum type="alphaLcPeriod"/>
              </a:pP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menyediakan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asesor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;</a:t>
              </a:r>
              <a:endParaRPr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04792" marR="0" lvl="0" indent="-304792" algn="just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600"/>
                <a:buFont typeface="Calibri"/>
                <a:buAutoNum type="alphaLcPeriod"/>
              </a:pP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melaksanakan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penilaian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kelayakan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badan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usaha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;</a:t>
              </a:r>
              <a:endParaRPr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04792" marR="0" lvl="0" indent="-304792" algn="just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600"/>
                <a:buFont typeface="Calibri"/>
                <a:buAutoNum type="alphaLcPeriod"/>
              </a:pP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melaksanakan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surveilans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pemeliharaan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sertifikasi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;</a:t>
              </a:r>
              <a:endParaRPr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04792" marR="0" lvl="0" indent="-304792" algn="just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600"/>
                <a:buFont typeface="Calibri"/>
                <a:buAutoNum type="alphaLcPeriod"/>
              </a:pP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mencatatkan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sertifikat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badan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usaha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dalam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sistem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informasi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jasa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konstruksi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terintegrasi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; </a:t>
              </a:r>
              <a:endParaRPr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04792" marR="0" lvl="0" indent="-304792" algn="just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600"/>
                <a:buFont typeface="Calibri"/>
                <a:buAutoNum type="alphaLcPeriod"/>
              </a:pP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melaksanakan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pelaporan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penyelenggaraan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sertifikasi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badan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usaha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melalui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Sistem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Informasi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Jasa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Konstruksi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; dan</a:t>
              </a:r>
              <a:endParaRPr sz="1600" b="0" i="0" u="none" strike="noStrike" cap="none" dirty="0">
                <a:solidFill>
                  <a:srgbClr val="3F3F3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endParaRPr>
            </a:p>
            <a:p>
              <a:pPr marL="304792" marR="0" lvl="0" indent="-304792" algn="just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600"/>
                <a:buFont typeface="Calibri"/>
                <a:buAutoNum type="alphaLcPeriod"/>
              </a:pP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mengembangkan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pelayanan</a:t>
              </a:r>
              <a:r>
                <a:rPr lang="en-US" sz="1600" b="0" i="0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lang="en-US" sz="1600" b="0" i="1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sertifikasi</a:t>
              </a:r>
              <a:r>
                <a:rPr lang="en-US" sz="1600" b="0" i="1" u="none" strike="noStrike" cap="none" dirty="0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.</a:t>
              </a:r>
              <a:endParaRPr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5" name="Google Shape;534;p20">
              <a:extLst>
                <a:ext uri="{FF2B5EF4-FFF2-40B4-BE49-F238E27FC236}">
                  <a16:creationId xmlns:a16="http://schemas.microsoft.com/office/drawing/2014/main" id="{2AE63DFF-D72F-5A5F-8773-5CEE03A386C0}"/>
                </a:ext>
              </a:extLst>
            </p:cNvPr>
            <p:cNvSpPr txBox="1"/>
            <p:nvPr/>
          </p:nvSpPr>
          <p:spPr>
            <a:xfrm>
              <a:off x="2153750" y="1158790"/>
              <a:ext cx="2835932" cy="25391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600"/>
                <a:buFont typeface="Calibri"/>
                <a:buNone/>
              </a:pPr>
              <a:r>
                <a:rPr lang="en-US" sz="1600" b="1" i="0" u="none" strike="noStrike" cap="none" dirty="0" err="1">
                  <a:solidFill>
                    <a:srgbClr val="3F3F3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Tugas</a:t>
              </a:r>
              <a:endParaRPr sz="1600" b="1" i="0" u="none" strike="noStrike" cap="none" dirty="0">
                <a:solidFill>
                  <a:srgbClr val="3F3F3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endParaRPr>
            </a:p>
          </p:txBody>
        </p:sp>
      </p:grpSp>
      <p:sp>
        <p:nvSpPr>
          <p:cNvPr id="16" name="Google Shape;535;p20">
            <a:extLst>
              <a:ext uri="{FF2B5EF4-FFF2-40B4-BE49-F238E27FC236}">
                <a16:creationId xmlns:a16="http://schemas.microsoft.com/office/drawing/2014/main" id="{B75B79E4-AC5A-82DB-D473-3DA9F3CAC839}"/>
              </a:ext>
            </a:extLst>
          </p:cNvPr>
          <p:cNvSpPr/>
          <p:nvPr/>
        </p:nvSpPr>
        <p:spPr>
          <a:xfrm>
            <a:off x="363070" y="5220311"/>
            <a:ext cx="11595568" cy="548680"/>
          </a:xfrm>
          <a:prstGeom prst="rect">
            <a:avLst/>
          </a:prstGeom>
          <a:solidFill>
            <a:srgbClr val="DBDBDB"/>
          </a:solidFill>
          <a:ln>
            <a:noFill/>
          </a:ln>
        </p:spPr>
        <p:txBody>
          <a:bodyPr spcFirstLastPara="1" wrap="square" lIns="121900" tIns="60950" rIns="121900" bIns="6095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Tahoma"/>
              <a:buNone/>
            </a:pPr>
            <a:r>
              <a:rPr lang="en-US" sz="1600" b="0" i="0" u="none" strike="noStrike" cap="none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Dalam</a:t>
            </a:r>
            <a:r>
              <a:rPr lang="en-US" sz="1600" b="0" i="0" u="none" strike="noStrike" cap="none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lang="en-US" sz="1600" b="0" i="0" u="none" strike="noStrike" cap="none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melaksanakan</a:t>
            </a:r>
            <a:r>
              <a:rPr lang="en-US" sz="1600" b="0" i="0" u="none" strike="noStrike" cap="none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lang="en-US" sz="1600" b="0" i="0" u="none" strike="noStrike" cap="none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TuSinya</a:t>
            </a:r>
            <a:r>
              <a:rPr lang="en-US" sz="1600" b="0" i="0" u="none" strike="noStrike" cap="none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LSBU </a:t>
            </a:r>
            <a:r>
              <a:rPr lang="en-US" sz="1600" b="0" i="0" u="none" strike="noStrike" cap="none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menjalankan</a:t>
            </a:r>
            <a:r>
              <a:rPr lang="en-US" sz="1600" b="0" i="0" u="none" strike="noStrike" cap="none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lang="en-US" sz="1600" b="1" i="0" u="none" strike="noStrike" cap="none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MEKANISME SERTIFIKASI </a:t>
            </a:r>
            <a:r>
              <a:rPr lang="en-US" sz="1600" b="0" i="0" u="none" strike="noStrike" cap="none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yang </a:t>
            </a:r>
            <a:r>
              <a:rPr lang="en-US" sz="1600" b="0" i="0" u="none" strike="noStrike" cap="none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diatur</a:t>
            </a:r>
            <a:r>
              <a:rPr lang="en-US" sz="1600" b="0" i="0" u="none" strike="noStrike" cap="none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lang="en-US" sz="1600" b="0" i="0" u="none" strike="noStrike" cap="none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sesuai</a:t>
            </a:r>
            <a:r>
              <a:rPr lang="en-US" sz="1600" b="0" i="0" u="none" strike="noStrike" cap="none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lang="en-US" sz="1600" b="0" i="0" u="none" strike="noStrike" cap="none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ketentuan</a:t>
            </a:r>
            <a:r>
              <a:rPr lang="en-US" sz="1600" b="0" i="0" u="none" strike="noStrike" cap="none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lang="en-US" sz="1600" b="0" i="0" u="none" strike="noStrike" cap="none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peraturan</a:t>
            </a:r>
            <a:r>
              <a:rPr lang="en-US" sz="1600" b="0" i="0" u="none" strike="noStrike" cap="none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lang="en-US" sz="1600" b="0" i="0" u="none" strike="noStrike" cap="none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perundang-undangan</a:t>
            </a:r>
            <a:r>
              <a:rPr lang="en-US" sz="1600" b="0" i="0" u="none" strike="noStrike" cap="none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yang </a:t>
            </a:r>
            <a:r>
              <a:rPr lang="en-US" sz="1600" b="0" i="0" u="none" strike="noStrike" cap="none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terkait</a:t>
            </a:r>
            <a:r>
              <a:rPr lang="en-US" sz="1600" b="0" i="0" u="none" strike="noStrike" cap="none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lang="en-US" sz="1600" b="0" i="0" u="none" strike="noStrike" cap="none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Perizinan</a:t>
            </a:r>
            <a:r>
              <a:rPr lang="en-US" sz="1600" b="0" i="0" u="none" strike="noStrike" cap="none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lang="en-US" sz="1600" b="0" i="0" u="none" strike="noStrike" cap="none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Berusaha</a:t>
            </a:r>
            <a:r>
              <a:rPr lang="en-US" sz="1600" b="0" i="0" u="none" strike="noStrike" cap="none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lang="en-US" sz="1600" b="0" i="0" u="none" strike="noStrike" cap="none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Berbasis</a:t>
            </a:r>
            <a:r>
              <a:rPr lang="en-US" sz="1600" b="0" i="0" u="none" strike="noStrike" cap="none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lang="en-US" sz="1600" b="0" i="0" u="none" strike="noStrike" cap="none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Risiko</a:t>
            </a:r>
            <a:endParaRPr sz="1600" b="0" i="0" u="none" strike="noStrike" cap="none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/>
            </a:endParaRPr>
          </a:p>
        </p:txBody>
      </p:sp>
      <p:sp>
        <p:nvSpPr>
          <p:cNvPr id="20" name="Google Shape;536;p20">
            <a:extLst>
              <a:ext uri="{FF2B5EF4-FFF2-40B4-BE49-F238E27FC236}">
                <a16:creationId xmlns:a16="http://schemas.microsoft.com/office/drawing/2014/main" id="{B389F906-AB54-3CB9-D0D6-48DD321F28D7}"/>
              </a:ext>
            </a:extLst>
          </p:cNvPr>
          <p:cNvSpPr/>
          <p:nvPr/>
        </p:nvSpPr>
        <p:spPr>
          <a:xfrm>
            <a:off x="363070" y="2241588"/>
            <a:ext cx="1557020" cy="1395642"/>
          </a:xfrm>
          <a:prstGeom prst="roundRect">
            <a:avLst>
              <a:gd name="adj" fmla="val 16667"/>
            </a:avLst>
          </a:prstGeom>
          <a:solidFill>
            <a:srgbClr val="174A90"/>
          </a:solidFill>
          <a:ln>
            <a:noFill/>
          </a:ln>
        </p:spPr>
        <p:txBody>
          <a:bodyPr spcFirstLastPara="1" wrap="square" lIns="121900" tIns="60950" rIns="121900" bIns="6095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Calibri"/>
              <a:buNone/>
            </a:pPr>
            <a:r>
              <a:rPr lang="en-US" sz="2000" i="0" u="none" strike="noStrike" cap="none" dirty="0" err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Berbadan</a:t>
            </a:r>
            <a:r>
              <a:rPr lang="en-US" sz="2000" i="0" u="none" strike="noStrike" cap="none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 </a:t>
            </a:r>
            <a:r>
              <a:rPr lang="en-US" sz="2000" i="0" u="none" strike="noStrike" cap="none" dirty="0" err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hukum</a:t>
            </a:r>
            <a:r>
              <a:rPr lang="en-US" sz="2000" i="0" u="none" strike="noStrike" cap="none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 </a:t>
            </a:r>
            <a:endParaRPr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" name="Google Shape;537;p20">
            <a:extLst>
              <a:ext uri="{FF2B5EF4-FFF2-40B4-BE49-F238E27FC236}">
                <a16:creationId xmlns:a16="http://schemas.microsoft.com/office/drawing/2014/main" id="{6002D544-70AD-7D99-F213-9072AC284265}"/>
              </a:ext>
            </a:extLst>
          </p:cNvPr>
          <p:cNvSpPr/>
          <p:nvPr/>
        </p:nvSpPr>
        <p:spPr>
          <a:xfrm>
            <a:off x="2127255" y="1206330"/>
            <a:ext cx="4128459" cy="9601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60950" rIns="121900" bIns="6095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Calibri"/>
              <a:buNone/>
            </a:pPr>
            <a:endParaRPr sz="2400" b="0" i="0" u="none" strike="noStrike" cap="none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sp>
        <p:nvSpPr>
          <p:cNvPr id="52" name="Google Shape;538;p20">
            <a:extLst>
              <a:ext uri="{FF2B5EF4-FFF2-40B4-BE49-F238E27FC236}">
                <a16:creationId xmlns:a16="http://schemas.microsoft.com/office/drawing/2014/main" id="{41CD46C9-2C9F-9FBC-575E-B0C88720FD50}"/>
              </a:ext>
            </a:extLst>
          </p:cNvPr>
          <p:cNvSpPr/>
          <p:nvPr/>
        </p:nvSpPr>
        <p:spPr>
          <a:xfrm>
            <a:off x="2127255" y="3353780"/>
            <a:ext cx="4128459" cy="9601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60950" rIns="121900" bIns="6095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Calibri"/>
              <a:buNone/>
            </a:pPr>
            <a:endParaRPr sz="2400" b="0" i="0" u="none" strike="noStrike" cap="none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sp>
        <p:nvSpPr>
          <p:cNvPr id="55" name="Google Shape;539;p20">
            <a:extLst>
              <a:ext uri="{FF2B5EF4-FFF2-40B4-BE49-F238E27FC236}">
                <a16:creationId xmlns:a16="http://schemas.microsoft.com/office/drawing/2014/main" id="{83DC1FF2-1251-41F0-5E28-819CD237039D}"/>
              </a:ext>
            </a:extLst>
          </p:cNvPr>
          <p:cNvSpPr/>
          <p:nvPr/>
        </p:nvSpPr>
        <p:spPr>
          <a:xfrm>
            <a:off x="6493834" y="1206331"/>
            <a:ext cx="5464801" cy="96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60950" rIns="121900" bIns="6095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Calibri"/>
              <a:buNone/>
            </a:pPr>
            <a:endParaRPr sz="2400" b="0" i="0" u="none" strike="noStrike" cap="none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sp>
        <p:nvSpPr>
          <p:cNvPr id="56" name="Google Shape;540;p20">
            <a:extLst>
              <a:ext uri="{FF2B5EF4-FFF2-40B4-BE49-F238E27FC236}">
                <a16:creationId xmlns:a16="http://schemas.microsoft.com/office/drawing/2014/main" id="{0EA5ECCB-82E1-2DB5-9370-D1C38D950413}"/>
              </a:ext>
            </a:extLst>
          </p:cNvPr>
          <p:cNvSpPr/>
          <p:nvPr/>
        </p:nvSpPr>
        <p:spPr>
          <a:xfrm>
            <a:off x="6493835" y="4967363"/>
            <a:ext cx="5464801" cy="9601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60950" rIns="121900" bIns="6095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Calibri"/>
              <a:buNone/>
            </a:pPr>
            <a:endParaRPr sz="2400" b="0" i="0" u="none" strike="noStrike" cap="none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sp>
        <p:nvSpPr>
          <p:cNvPr id="59" name="Google Shape;541;p20">
            <a:extLst>
              <a:ext uri="{FF2B5EF4-FFF2-40B4-BE49-F238E27FC236}">
                <a16:creationId xmlns:a16="http://schemas.microsoft.com/office/drawing/2014/main" id="{74BC7821-E39A-2541-5211-611B00D83087}"/>
              </a:ext>
            </a:extLst>
          </p:cNvPr>
          <p:cNvSpPr/>
          <p:nvPr/>
        </p:nvSpPr>
        <p:spPr>
          <a:xfrm>
            <a:off x="6307994" y="850222"/>
            <a:ext cx="5884006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dirty="0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-PP </a:t>
            </a:r>
            <a:r>
              <a:rPr lang="en-US" sz="1400" b="1" dirty="0" err="1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Nomor</a:t>
            </a:r>
            <a:r>
              <a:rPr lang="en-US" sz="1400" b="1" dirty="0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 14 </a:t>
            </a:r>
            <a:r>
              <a:rPr lang="en-US" sz="1400" b="1" dirty="0" err="1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Tahun</a:t>
            </a:r>
            <a:r>
              <a:rPr lang="en-US" sz="1400" b="1" dirty="0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 2021 Pasal 41A, Pasal 41b, Pasal 41C-</a:t>
            </a:r>
            <a:endParaRPr sz="1400" dirty="0">
              <a:solidFill>
                <a:schemeClr val="dk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sp>
        <p:nvSpPr>
          <p:cNvPr id="62" name="Google Shape;542;p20">
            <a:extLst>
              <a:ext uri="{FF2B5EF4-FFF2-40B4-BE49-F238E27FC236}">
                <a16:creationId xmlns:a16="http://schemas.microsoft.com/office/drawing/2014/main" id="{64127EF3-30C6-401A-BB80-0437EBA3E261}"/>
              </a:ext>
            </a:extLst>
          </p:cNvPr>
          <p:cNvSpPr/>
          <p:nvPr/>
        </p:nvSpPr>
        <p:spPr>
          <a:xfrm>
            <a:off x="2450659" y="3671778"/>
            <a:ext cx="3252831" cy="83095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 err="1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Persetujuan</a:t>
            </a:r>
            <a:r>
              <a:rPr lang="en-US" sz="1600" dirty="0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 </a:t>
            </a:r>
            <a:r>
              <a:rPr lang="en-US" sz="1600" dirty="0" err="1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terhadap</a:t>
            </a:r>
            <a:r>
              <a:rPr lang="en-US" sz="1600" dirty="0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 </a:t>
            </a:r>
            <a:r>
              <a:rPr lang="en-US" sz="1600" dirty="0" err="1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skema</a:t>
            </a:r>
            <a:r>
              <a:rPr lang="en-US" sz="1600" dirty="0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 </a:t>
            </a:r>
            <a:r>
              <a:rPr lang="en-US" sz="1600" dirty="0" err="1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sertifikasi</a:t>
            </a:r>
            <a:r>
              <a:rPr lang="en-US" sz="1600" dirty="0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 </a:t>
            </a:r>
            <a:r>
              <a:rPr lang="en-US" sz="1600" dirty="0" err="1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menjadi</a:t>
            </a:r>
            <a:r>
              <a:rPr lang="en-US" sz="1600" dirty="0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 </a:t>
            </a:r>
            <a:r>
              <a:rPr lang="en-US" sz="1600" dirty="0" err="1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dasar</a:t>
            </a:r>
            <a:r>
              <a:rPr lang="en-US" sz="1600" dirty="0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 </a:t>
            </a:r>
            <a:r>
              <a:rPr lang="en-US" sz="1600" dirty="0" err="1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penerbitan</a:t>
            </a:r>
            <a:r>
              <a:rPr lang="en-US" sz="1600" dirty="0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 </a:t>
            </a:r>
            <a:r>
              <a:rPr lang="en-US" sz="1600" dirty="0" err="1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Lisensi</a:t>
            </a:r>
            <a:r>
              <a:rPr lang="en-US" sz="1600" dirty="0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 LSBU. </a:t>
            </a:r>
            <a:endParaRPr sz="1600" dirty="0">
              <a:solidFill>
                <a:schemeClr val="dk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pic>
        <p:nvPicPr>
          <p:cNvPr id="2" name="Picture 1" descr="lgo sigap.png">
            <a:extLst>
              <a:ext uri="{FF2B5EF4-FFF2-40B4-BE49-F238E27FC236}">
                <a16:creationId xmlns:a16="http://schemas.microsoft.com/office/drawing/2014/main" id="{198B1802-ACF0-4BA2-EDC0-9255F8478D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3" name="Round Same Side Corner Rectangle 1">
            <a:extLst>
              <a:ext uri="{FF2B5EF4-FFF2-40B4-BE49-F238E27FC236}">
                <a16:creationId xmlns:a16="http://schemas.microsoft.com/office/drawing/2014/main" id="{C0F27940-8317-FEDE-C490-AA6345170461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A7C4F00-FA6C-0170-10CC-CCCCFFB07AE0}"/>
              </a:ext>
            </a:extLst>
          </p:cNvPr>
          <p:cNvSpPr txBox="1">
            <a:spLocks/>
          </p:cNvSpPr>
          <p:nvPr/>
        </p:nvSpPr>
        <p:spPr>
          <a:xfrm>
            <a:off x="176914" y="169726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800" b="1" dirty="0">
                <a:solidFill>
                  <a:prstClr val="black"/>
                </a:solidFill>
                <a:latin typeface="Segoe UI"/>
              </a:rPr>
              <a:t>LEMBAGA SERTIFIKASI BADAN USAHA (LSBU)</a:t>
            </a:r>
          </a:p>
          <a:p>
            <a:pPr>
              <a:lnSpc>
                <a:spcPct val="100000"/>
              </a:lnSpc>
              <a:defRPr/>
            </a:pPr>
            <a:endParaRPr lang="fi-FI" sz="2800" b="1" dirty="0">
              <a:solidFill>
                <a:prstClr val="black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40516067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val 32">
            <a:extLst>
              <a:ext uri="{FF2B5EF4-FFF2-40B4-BE49-F238E27FC236}">
                <a16:creationId xmlns:a16="http://schemas.microsoft.com/office/drawing/2014/main" id="{9140055F-1D8C-1EC2-F48D-7C3A498D7B60}"/>
              </a:ext>
            </a:extLst>
          </p:cNvPr>
          <p:cNvSpPr/>
          <p:nvPr/>
        </p:nvSpPr>
        <p:spPr>
          <a:xfrm>
            <a:off x="6022214" y="3873143"/>
            <a:ext cx="1316093" cy="1288014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6C03E9C5-CDAA-ACD2-B5D7-84C5021CC972}"/>
              </a:ext>
            </a:extLst>
          </p:cNvPr>
          <p:cNvSpPr/>
          <p:nvPr/>
        </p:nvSpPr>
        <p:spPr>
          <a:xfrm>
            <a:off x="263364" y="1029656"/>
            <a:ext cx="1427590" cy="1340426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20" name="Panah: Kanan 10">
            <a:extLst>
              <a:ext uri="{FF2B5EF4-FFF2-40B4-BE49-F238E27FC236}">
                <a16:creationId xmlns:a16="http://schemas.microsoft.com/office/drawing/2014/main" id="{3717378B-0E28-7B53-51E5-38CDC1EB99EF}"/>
              </a:ext>
            </a:extLst>
          </p:cNvPr>
          <p:cNvSpPr/>
          <p:nvPr/>
        </p:nvSpPr>
        <p:spPr>
          <a:xfrm>
            <a:off x="1829373" y="1470624"/>
            <a:ext cx="454907" cy="587907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FA264355-98A2-DB3F-94FB-7CCB79500797}"/>
              </a:ext>
            </a:extLst>
          </p:cNvPr>
          <p:cNvSpPr/>
          <p:nvPr/>
        </p:nvSpPr>
        <p:spPr>
          <a:xfrm>
            <a:off x="2442960" y="1051166"/>
            <a:ext cx="1246060" cy="1277377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pic>
        <p:nvPicPr>
          <p:cNvPr id="122" name="Gambar 9">
            <a:extLst>
              <a:ext uri="{FF2B5EF4-FFF2-40B4-BE49-F238E27FC236}">
                <a16:creationId xmlns:a16="http://schemas.microsoft.com/office/drawing/2014/main" id="{3162D9C5-8E44-3145-F6AD-346B483FEC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201" y="1293195"/>
            <a:ext cx="623887" cy="833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" name="Picture 14" descr="Animasi Komputer - LINTAS MATERI">
            <a:extLst>
              <a:ext uri="{FF2B5EF4-FFF2-40B4-BE49-F238E27FC236}">
                <a16:creationId xmlns:a16="http://schemas.microsoft.com/office/drawing/2014/main" id="{D336E31C-FC9D-AF10-B50D-341A96B8D8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4190" y="1343202"/>
            <a:ext cx="735013" cy="733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4" name="Persegi Panjang 53">
            <a:extLst>
              <a:ext uri="{FF2B5EF4-FFF2-40B4-BE49-F238E27FC236}">
                <a16:creationId xmlns:a16="http://schemas.microsoft.com/office/drawing/2014/main" id="{B35F82BB-0742-15D9-40CB-4CCB066801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0362" y="2191877"/>
            <a:ext cx="1547886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DM Sans" pitchFamily="2" charset="77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Mendaftar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melalui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OSS dan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mengisi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data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pendaftaran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0E296481-576A-0492-0C8E-A9B0D686FFE2}"/>
              </a:ext>
            </a:extLst>
          </p:cNvPr>
          <p:cNvSpPr/>
          <p:nvPr/>
        </p:nvSpPr>
        <p:spPr>
          <a:xfrm>
            <a:off x="4387403" y="1029124"/>
            <a:ext cx="1232534" cy="1268292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pic>
        <p:nvPicPr>
          <p:cNvPr id="127" name="Picture 16" descr="105 mengetik clipart gratis | Domain publik vektor">
            <a:extLst>
              <a:ext uri="{FF2B5EF4-FFF2-40B4-BE49-F238E27FC236}">
                <a16:creationId xmlns:a16="http://schemas.microsoft.com/office/drawing/2014/main" id="{EE114D93-015F-E02E-E770-83068325F7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6196" y="1368568"/>
            <a:ext cx="719137" cy="588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8" name="Persegi Panjang 59">
            <a:extLst>
              <a:ext uri="{FF2B5EF4-FFF2-40B4-BE49-F238E27FC236}">
                <a16:creationId xmlns:a16="http://schemas.microsoft.com/office/drawing/2014/main" id="{FA75BE38-C5A4-802C-1F71-E7D0481169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0514" y="2171083"/>
            <a:ext cx="1653034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DM Sans" pitchFamily="2" charset="77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Mengisi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data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usaha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dan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melakuk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validasi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risiko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(KBLI 71201)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086403C5-B1B0-5A21-F753-7F5E10FE181D}"/>
              </a:ext>
            </a:extLst>
          </p:cNvPr>
          <p:cNvSpPr/>
          <p:nvPr/>
        </p:nvSpPr>
        <p:spPr>
          <a:xfrm>
            <a:off x="6415830" y="1029124"/>
            <a:ext cx="1206386" cy="1247985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31" name="Persegi Panjang 63">
            <a:extLst>
              <a:ext uri="{FF2B5EF4-FFF2-40B4-BE49-F238E27FC236}">
                <a16:creationId xmlns:a16="http://schemas.microsoft.com/office/drawing/2014/main" id="{6671566C-DD49-B19A-46BD-55F6FB9CB0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67100" y="2358471"/>
            <a:ext cx="2055489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Menyatak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persetuju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kesanggup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pemenuh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persyarat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kewajib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perizin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berusaha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F3C1FEAE-5D6A-F2B8-3B82-8263EBF6D4B3}"/>
              </a:ext>
            </a:extLst>
          </p:cNvPr>
          <p:cNvSpPr/>
          <p:nvPr/>
        </p:nvSpPr>
        <p:spPr>
          <a:xfrm>
            <a:off x="8396471" y="1067333"/>
            <a:ext cx="1291234" cy="1230083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34" name="Persegi Panjang 66">
            <a:extLst>
              <a:ext uri="{FF2B5EF4-FFF2-40B4-BE49-F238E27FC236}">
                <a16:creationId xmlns:a16="http://schemas.microsoft.com/office/drawing/2014/main" id="{7B71CB18-BBA7-81E8-D557-C19DB9EAF4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0177" y="2376888"/>
            <a:ext cx="2055489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OSS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melakuk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vaidasi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secara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otomatis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apabila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data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tidak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lengkap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pelaku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usaha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mengisi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data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kembali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150" name="Rectangle 7">
            <a:extLst>
              <a:ext uri="{FF2B5EF4-FFF2-40B4-BE49-F238E27FC236}">
                <a16:creationId xmlns:a16="http://schemas.microsoft.com/office/drawing/2014/main" id="{09FFB88C-22DD-1F29-5120-0E236A5ED1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3740" y="2414730"/>
            <a:ext cx="1366838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LSBU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dibentuk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oleh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Asosiasi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terkareditasi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2EAC2FDA-E30F-DADD-AF98-C98B8E7A1F32}"/>
              </a:ext>
            </a:extLst>
          </p:cNvPr>
          <p:cNvSpPr/>
          <p:nvPr/>
        </p:nvSpPr>
        <p:spPr>
          <a:xfrm>
            <a:off x="10375460" y="1045375"/>
            <a:ext cx="1291234" cy="1230083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pic>
        <p:nvPicPr>
          <p:cNvPr id="156" name="Picture 24" descr="Ilustrasi pria dan wanita, penilaian kinerja Bisnis manajemen ...">
            <a:extLst>
              <a:ext uri="{FF2B5EF4-FFF2-40B4-BE49-F238E27FC236}">
                <a16:creationId xmlns:a16="http://schemas.microsoft.com/office/drawing/2014/main" id="{38C0FBEF-34B6-72E3-ABB3-9EB565958B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9831" y="1403271"/>
            <a:ext cx="841375" cy="57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7" name="Persegi Panjang 66">
            <a:extLst>
              <a:ext uri="{FF2B5EF4-FFF2-40B4-BE49-F238E27FC236}">
                <a16:creationId xmlns:a16="http://schemas.microsoft.com/office/drawing/2014/main" id="{A7FE1DB6-999B-06E5-2CFC-CE75F4E4E7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45666" y="2376888"/>
            <a:ext cx="1781187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OSS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menerbitk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 NIB dan SS belum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terverifikasi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</a:endParaRPr>
          </a:p>
        </p:txBody>
      </p:sp>
      <p:pic>
        <p:nvPicPr>
          <p:cNvPr id="160" name="Picture 159">
            <a:extLst>
              <a:ext uri="{FF2B5EF4-FFF2-40B4-BE49-F238E27FC236}">
                <a16:creationId xmlns:a16="http://schemas.microsoft.com/office/drawing/2014/main" id="{C66085C0-4B42-C2A5-820B-1B27A69B33A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9989" y="1246234"/>
            <a:ext cx="776687" cy="776687"/>
          </a:xfrm>
          <a:prstGeom prst="rect">
            <a:avLst/>
          </a:prstGeom>
        </p:spPr>
      </p:pic>
      <p:pic>
        <p:nvPicPr>
          <p:cNvPr id="161" name="Picture 160">
            <a:extLst>
              <a:ext uri="{FF2B5EF4-FFF2-40B4-BE49-F238E27FC236}">
                <a16:creationId xmlns:a16="http://schemas.microsoft.com/office/drawing/2014/main" id="{0C7A39CA-D8C8-760A-30DD-632F10E7226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29" t="15054" r="16864" b="24014"/>
          <a:stretch/>
        </p:blipFill>
        <p:spPr>
          <a:xfrm>
            <a:off x="8651854" y="1293195"/>
            <a:ext cx="805956" cy="805956"/>
          </a:xfrm>
          <a:prstGeom prst="rect">
            <a:avLst/>
          </a:prstGeom>
        </p:spPr>
      </p:pic>
      <p:sp>
        <p:nvSpPr>
          <p:cNvPr id="166" name="Panah: Kanan 10">
            <a:extLst>
              <a:ext uri="{FF2B5EF4-FFF2-40B4-BE49-F238E27FC236}">
                <a16:creationId xmlns:a16="http://schemas.microsoft.com/office/drawing/2014/main" id="{093B40E0-6FC6-DFAF-CFE1-4ED52D9D08DA}"/>
              </a:ext>
            </a:extLst>
          </p:cNvPr>
          <p:cNvSpPr/>
          <p:nvPr/>
        </p:nvSpPr>
        <p:spPr>
          <a:xfrm>
            <a:off x="3800733" y="1386864"/>
            <a:ext cx="454907" cy="587907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67" name="Panah: Kanan 10">
            <a:extLst>
              <a:ext uri="{FF2B5EF4-FFF2-40B4-BE49-F238E27FC236}">
                <a16:creationId xmlns:a16="http://schemas.microsoft.com/office/drawing/2014/main" id="{5BA74FB4-29E6-F503-AD1F-C966C3488490}"/>
              </a:ext>
            </a:extLst>
          </p:cNvPr>
          <p:cNvSpPr/>
          <p:nvPr/>
        </p:nvSpPr>
        <p:spPr>
          <a:xfrm>
            <a:off x="5790430" y="1343202"/>
            <a:ext cx="454907" cy="587907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68" name="Panah: Kanan 10">
            <a:extLst>
              <a:ext uri="{FF2B5EF4-FFF2-40B4-BE49-F238E27FC236}">
                <a16:creationId xmlns:a16="http://schemas.microsoft.com/office/drawing/2014/main" id="{1D36C8F5-7A02-73E2-CDC6-E1D3C5BF4FD7}"/>
              </a:ext>
            </a:extLst>
          </p:cNvPr>
          <p:cNvSpPr/>
          <p:nvPr/>
        </p:nvSpPr>
        <p:spPr>
          <a:xfrm>
            <a:off x="7770058" y="1372348"/>
            <a:ext cx="454907" cy="587907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69" name="Panah: Kanan 10">
            <a:extLst>
              <a:ext uri="{FF2B5EF4-FFF2-40B4-BE49-F238E27FC236}">
                <a16:creationId xmlns:a16="http://schemas.microsoft.com/office/drawing/2014/main" id="{5AE3D3DB-E1D4-F5DB-E999-02C7AE8BD640}"/>
              </a:ext>
            </a:extLst>
          </p:cNvPr>
          <p:cNvSpPr/>
          <p:nvPr/>
        </p:nvSpPr>
        <p:spPr>
          <a:xfrm>
            <a:off x="9850154" y="1369623"/>
            <a:ext cx="454907" cy="587907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184" name="Panah: Kanan 10">
            <a:extLst>
              <a:ext uri="{FF2B5EF4-FFF2-40B4-BE49-F238E27FC236}">
                <a16:creationId xmlns:a16="http://schemas.microsoft.com/office/drawing/2014/main" id="{1FCCD477-8CC9-9548-3780-20AC959EDFBD}"/>
              </a:ext>
            </a:extLst>
          </p:cNvPr>
          <p:cNvSpPr/>
          <p:nvPr/>
        </p:nvSpPr>
        <p:spPr>
          <a:xfrm rot="5400000">
            <a:off x="10808805" y="3193715"/>
            <a:ext cx="454907" cy="587907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13" name="Round Same Side Corner Rectangle 12">
            <a:extLst>
              <a:ext uri="{FF2B5EF4-FFF2-40B4-BE49-F238E27FC236}">
                <a16:creationId xmlns:a16="http://schemas.microsoft.com/office/drawing/2014/main" id="{0863C3B6-BD2F-90F7-6787-76DD7B475B71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5A7B3CD-5876-5D7D-DD89-4830A63E59CC}"/>
              </a:ext>
            </a:extLst>
          </p:cNvPr>
          <p:cNvSpPr txBox="1">
            <a:spLocks/>
          </p:cNvSpPr>
          <p:nvPr/>
        </p:nvSpPr>
        <p:spPr>
          <a:xfrm>
            <a:off x="176914" y="169726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"/>
                <a:ea typeface="+mj-ea"/>
                <a:cs typeface="+mj-cs"/>
              </a:rPr>
              <a:t>ALUR PERMOHONAN LISENSI LSBU</a:t>
            </a:r>
          </a:p>
        </p:txBody>
      </p:sp>
      <p:pic>
        <p:nvPicPr>
          <p:cNvPr id="17" name="Picture 16" descr="lgo sigap.png">
            <a:extLst>
              <a:ext uri="{FF2B5EF4-FFF2-40B4-BE49-F238E27FC236}">
                <a16:creationId xmlns:a16="http://schemas.microsoft.com/office/drawing/2014/main" id="{93BB4735-6BB1-B383-F6E0-1B81AF80786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7306D230-CD97-C64B-5830-906F42C914E7}"/>
              </a:ext>
            </a:extLst>
          </p:cNvPr>
          <p:cNvSpPr/>
          <p:nvPr/>
        </p:nvSpPr>
        <p:spPr>
          <a:xfrm>
            <a:off x="10333256" y="3837745"/>
            <a:ext cx="1396570" cy="1344031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3" name="Persegi Panjang 71">
            <a:extLst>
              <a:ext uri="{FF2B5EF4-FFF2-40B4-BE49-F238E27FC236}">
                <a16:creationId xmlns:a16="http://schemas.microsoft.com/office/drawing/2014/main" id="{5534337D-082E-7047-3EDC-AAD9C1ED90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45501" y="5215678"/>
            <a:ext cx="2546611" cy="1600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Melakuk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 PB UMKU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melalui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 SSO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masuk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 ke Portal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Perizin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 PUPR,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mengisi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 data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persyarat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lisensi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 LSBU </a:t>
            </a:r>
            <a:r>
              <a:rPr kumimoji="0" lang="en-US" alt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(</a:t>
            </a:r>
            <a:r>
              <a:rPr kumimoji="0" lang="en-US" alt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saat</a:t>
            </a:r>
            <a:r>
              <a:rPr kumimoji="0" lang="en-US" alt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 ini </a:t>
            </a:r>
            <a:r>
              <a:rPr kumimoji="0" lang="en-US" alt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dilakukan</a:t>
            </a:r>
            <a:r>
              <a:rPr kumimoji="0" lang="en-US" alt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 manual </a:t>
            </a:r>
            <a:r>
              <a:rPr kumimoji="0" lang="en-US" alt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melalui</a:t>
            </a:r>
            <a:r>
              <a:rPr kumimoji="0" lang="en-US" alt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 Google Drive </a:t>
            </a:r>
            <a:r>
              <a:rPr kumimoji="0" lang="en-US" alt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atau</a:t>
            </a:r>
            <a:r>
              <a:rPr kumimoji="0" lang="en-US" alt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 One Drive)</a:t>
            </a:r>
            <a:endParaRPr kumimoji="0" lang="en-US" altLang="en-US" sz="1400" b="0" i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A3E54C53-BFA2-7C85-8431-B2E7C94D6240}"/>
              </a:ext>
            </a:extLst>
          </p:cNvPr>
          <p:cNvSpPr/>
          <p:nvPr/>
        </p:nvSpPr>
        <p:spPr>
          <a:xfrm>
            <a:off x="8107512" y="3906498"/>
            <a:ext cx="1316093" cy="1288014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5" name="Persegi Panjang 74">
            <a:extLst>
              <a:ext uri="{FF2B5EF4-FFF2-40B4-BE49-F238E27FC236}">
                <a16:creationId xmlns:a16="http://schemas.microsoft.com/office/drawing/2014/main" id="{04B65FF5-C472-5E5B-95C3-F036F6DD9D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6968" y="5194512"/>
            <a:ext cx="1897179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LPJK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memeriksa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kelengkap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data,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jika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tidak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lengkap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Pelaku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Usaha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ak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diberik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notifikasi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7" name="Persegi Panjang 77">
            <a:extLst>
              <a:ext uri="{FF2B5EF4-FFF2-40B4-BE49-F238E27FC236}">
                <a16:creationId xmlns:a16="http://schemas.microsoft.com/office/drawing/2014/main" id="{6ED7AF2E-72F4-F95F-B4DA-2311F33F14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95363" y="5215678"/>
            <a:ext cx="2144713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Proses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Penilai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Kelayak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LSBU (Audit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Kecukup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dan Audit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Lapang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8" name="Oval 79">
            <a:extLst>
              <a:ext uri="{FF2B5EF4-FFF2-40B4-BE49-F238E27FC236}">
                <a16:creationId xmlns:a16="http://schemas.microsoft.com/office/drawing/2014/main" id="{77C4E884-EA8E-BC6D-BF5E-7C4DB2CFBE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75797" y="3837745"/>
            <a:ext cx="1316484" cy="1288014"/>
          </a:xfrm>
          <a:prstGeom prst="ellipse">
            <a:avLst/>
          </a:prstGeom>
          <a:solidFill>
            <a:srgbClr val="FFFFFF"/>
          </a:solidFill>
          <a:ln w="12700">
            <a:solidFill>
              <a:srgbClr val="70AD47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9" name="Persegi Panjang 80">
            <a:extLst>
              <a:ext uri="{FF2B5EF4-FFF2-40B4-BE49-F238E27FC236}">
                <a16:creationId xmlns:a16="http://schemas.microsoft.com/office/drawing/2014/main" id="{6950CC27-E04C-6F76-7AEA-B7EDC74A73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91560" y="5193309"/>
            <a:ext cx="174307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Verifikasi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dan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Persetuju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SS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D43EB51-EC66-8094-EE97-23D11C4E785D}"/>
              </a:ext>
            </a:extLst>
          </p:cNvPr>
          <p:cNvSpPr/>
          <p:nvPr/>
        </p:nvSpPr>
        <p:spPr>
          <a:xfrm>
            <a:off x="134109" y="3799732"/>
            <a:ext cx="1366838" cy="1346053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11" name="Persegi Panjang 87">
            <a:extLst>
              <a:ext uri="{FF2B5EF4-FFF2-40B4-BE49-F238E27FC236}">
                <a16:creationId xmlns:a16="http://schemas.microsoft.com/office/drawing/2014/main" id="{746CDEFF-977A-A97F-8CF6-623F099656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710" y="5249453"/>
            <a:ext cx="1350034" cy="738664"/>
          </a:xfrm>
          <a:prstGeom prst="rect">
            <a:avLst/>
          </a:prstGeom>
          <a:solidFill>
            <a:srgbClr val="00B0F0"/>
          </a:solidFill>
          <a:ln w="9525">
            <a:solidFill>
              <a:srgbClr val="FFC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Penerbitan</a:t>
            </a: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 NIB dan SS </a:t>
            </a:r>
            <a:r>
              <a:rPr kumimoji="0" lang="en-US" alt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terverifikasi</a:t>
            </a: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cs typeface="Times New Roman" panose="02020603050405020304" pitchFamily="18" charset="0"/>
              </a:rPr>
              <a:t> </a:t>
            </a:r>
            <a:endParaRPr kumimoji="0" lang="en-US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64EB738-893A-D888-5B3D-018C68D9F499}"/>
              </a:ext>
            </a:extLst>
          </p:cNvPr>
          <p:cNvSpPr/>
          <p:nvPr/>
        </p:nvSpPr>
        <p:spPr>
          <a:xfrm>
            <a:off x="4027154" y="3848767"/>
            <a:ext cx="1277720" cy="1288014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15" name="Persegi Panjang 77">
            <a:extLst>
              <a:ext uri="{FF2B5EF4-FFF2-40B4-BE49-F238E27FC236}">
                <a16:creationId xmlns:a16="http://schemas.microsoft.com/office/drawing/2014/main" id="{5739BC62-47FF-4EE7-E726-A6E0CC503F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63635" y="5215678"/>
            <a:ext cx="169812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Penerbitan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Lisensi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LSBU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49436F4-E4ED-3BB2-E68B-CA44E0305D4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41347" t="25417" r="34921" b="15139"/>
          <a:stretch/>
        </p:blipFill>
        <p:spPr>
          <a:xfrm>
            <a:off x="432996" y="3932801"/>
            <a:ext cx="775356" cy="1092427"/>
          </a:xfrm>
          <a:prstGeom prst="rect">
            <a:avLst/>
          </a:prstGeom>
        </p:spPr>
      </p:pic>
      <p:sp>
        <p:nvSpPr>
          <p:cNvPr id="19" name="Panah: Kanan 10">
            <a:extLst>
              <a:ext uri="{FF2B5EF4-FFF2-40B4-BE49-F238E27FC236}">
                <a16:creationId xmlns:a16="http://schemas.microsoft.com/office/drawing/2014/main" id="{3EC3A1E1-083F-9636-20B3-226223868F35}"/>
              </a:ext>
            </a:extLst>
          </p:cNvPr>
          <p:cNvSpPr/>
          <p:nvPr/>
        </p:nvSpPr>
        <p:spPr>
          <a:xfrm rot="9754571">
            <a:off x="11342280" y="4451295"/>
            <a:ext cx="180067" cy="249386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20" name="Panah: Kanan 10">
            <a:extLst>
              <a:ext uri="{FF2B5EF4-FFF2-40B4-BE49-F238E27FC236}">
                <a16:creationId xmlns:a16="http://schemas.microsoft.com/office/drawing/2014/main" id="{EB27E401-2EE9-0280-5080-32989929FE6B}"/>
              </a:ext>
            </a:extLst>
          </p:cNvPr>
          <p:cNvSpPr/>
          <p:nvPr/>
        </p:nvSpPr>
        <p:spPr>
          <a:xfrm rot="10800000">
            <a:off x="9632508" y="4215806"/>
            <a:ext cx="454907" cy="587907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21" name="Panah: Kanan 10">
            <a:extLst>
              <a:ext uri="{FF2B5EF4-FFF2-40B4-BE49-F238E27FC236}">
                <a16:creationId xmlns:a16="http://schemas.microsoft.com/office/drawing/2014/main" id="{1C71FF13-F9A3-24AB-D302-AAA40C9FDF76}"/>
              </a:ext>
            </a:extLst>
          </p:cNvPr>
          <p:cNvSpPr/>
          <p:nvPr/>
        </p:nvSpPr>
        <p:spPr>
          <a:xfrm rot="10800000">
            <a:off x="7440377" y="4256551"/>
            <a:ext cx="454907" cy="587907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22" name="Panah: Kanan 10">
            <a:extLst>
              <a:ext uri="{FF2B5EF4-FFF2-40B4-BE49-F238E27FC236}">
                <a16:creationId xmlns:a16="http://schemas.microsoft.com/office/drawing/2014/main" id="{699BCE55-8FD6-D7D8-D4BA-0D67A14A7BC9}"/>
              </a:ext>
            </a:extLst>
          </p:cNvPr>
          <p:cNvSpPr/>
          <p:nvPr/>
        </p:nvSpPr>
        <p:spPr>
          <a:xfrm rot="10800000">
            <a:off x="5406167" y="4256551"/>
            <a:ext cx="454907" cy="587907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23" name="Panah: Kanan 10">
            <a:extLst>
              <a:ext uri="{FF2B5EF4-FFF2-40B4-BE49-F238E27FC236}">
                <a16:creationId xmlns:a16="http://schemas.microsoft.com/office/drawing/2014/main" id="{BE372FF5-FCF7-B045-A9E9-100EE668BEF9}"/>
              </a:ext>
            </a:extLst>
          </p:cNvPr>
          <p:cNvSpPr/>
          <p:nvPr/>
        </p:nvSpPr>
        <p:spPr>
          <a:xfrm rot="10800000">
            <a:off x="3467435" y="4228251"/>
            <a:ext cx="454907" cy="587907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24" name="Panah: Kanan 10">
            <a:extLst>
              <a:ext uri="{FF2B5EF4-FFF2-40B4-BE49-F238E27FC236}">
                <a16:creationId xmlns:a16="http://schemas.microsoft.com/office/drawing/2014/main" id="{F5ED4250-E97C-B7A8-E1A3-BB27AA823710}"/>
              </a:ext>
            </a:extLst>
          </p:cNvPr>
          <p:cNvSpPr/>
          <p:nvPr/>
        </p:nvSpPr>
        <p:spPr>
          <a:xfrm rot="10800000">
            <a:off x="1540170" y="4228754"/>
            <a:ext cx="454907" cy="587907"/>
          </a:xfrm>
          <a:prstGeom prst="rightArrow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EC18463-E4FC-BCDC-E848-4DDC502DC44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571056" y="4010863"/>
            <a:ext cx="942572" cy="251199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D3FFE2-E8DC-796C-A294-2A7542E4FD0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744025" y="4292909"/>
            <a:ext cx="539227" cy="81372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7A69855A-3DC8-B44C-1396-56FAC84AA0A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6038" y="4103344"/>
            <a:ext cx="601490" cy="601490"/>
          </a:xfrm>
          <a:prstGeom prst="rect">
            <a:avLst/>
          </a:prstGeom>
          <a:ln w="3175">
            <a:solidFill>
              <a:srgbClr val="354878"/>
            </a:solidFill>
          </a:ln>
        </p:spPr>
      </p:pic>
      <p:sp>
        <p:nvSpPr>
          <p:cNvPr id="28" name="Persegi Panjang 77">
            <a:extLst>
              <a:ext uri="{FF2B5EF4-FFF2-40B4-BE49-F238E27FC236}">
                <a16:creationId xmlns:a16="http://schemas.microsoft.com/office/drawing/2014/main" id="{BFE8FD67-C58D-43E3-AC40-70F2BA017D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4748" y="4775665"/>
            <a:ext cx="169812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LPJK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468CF589-4DA4-23AF-B84D-BA66D19CE2E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285185" y="4030972"/>
            <a:ext cx="770453" cy="91508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AE1EF8E-73E0-7456-7019-EEEB1A1766DB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358606" y="4179008"/>
            <a:ext cx="813907" cy="774204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94A19DE4-B7D9-5718-A039-F9BF3CC4287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7318" y="4089263"/>
            <a:ext cx="601490" cy="601490"/>
          </a:xfrm>
          <a:prstGeom prst="rect">
            <a:avLst/>
          </a:prstGeom>
          <a:ln w="3175">
            <a:solidFill>
              <a:srgbClr val="354878"/>
            </a:solidFill>
          </a:ln>
        </p:spPr>
      </p:pic>
      <p:sp>
        <p:nvSpPr>
          <p:cNvPr id="32" name="Persegi Panjang 77">
            <a:extLst>
              <a:ext uri="{FF2B5EF4-FFF2-40B4-BE49-F238E27FC236}">
                <a16:creationId xmlns:a16="http://schemas.microsoft.com/office/drawing/2014/main" id="{ED80DE13-A285-A116-1C08-E04F3C1660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9144" y="4699506"/>
            <a:ext cx="169812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DM Sans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PUPR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0393387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" name="Google Shape;649;p24">
            <a:extLst>
              <a:ext uri="{FF2B5EF4-FFF2-40B4-BE49-F238E27FC236}">
                <a16:creationId xmlns:a16="http://schemas.microsoft.com/office/drawing/2014/main" id="{A8080A4D-9847-66E3-15E5-3650800864AE}"/>
              </a:ext>
            </a:extLst>
          </p:cNvPr>
          <p:cNvGrpSpPr/>
          <p:nvPr/>
        </p:nvGrpSpPr>
        <p:grpSpPr>
          <a:xfrm>
            <a:off x="1790213" y="5342474"/>
            <a:ext cx="3077621" cy="785314"/>
            <a:chOff x="0" y="0"/>
            <a:chExt cx="2881856" cy="827954"/>
          </a:xfrm>
          <a:solidFill>
            <a:schemeClr val="bg2">
              <a:lumMod val="90000"/>
            </a:schemeClr>
          </a:solidFill>
        </p:grpSpPr>
        <p:sp>
          <p:nvSpPr>
            <p:cNvPr id="114" name="Google Shape;650;p24">
              <a:extLst>
                <a:ext uri="{FF2B5EF4-FFF2-40B4-BE49-F238E27FC236}">
                  <a16:creationId xmlns:a16="http://schemas.microsoft.com/office/drawing/2014/main" id="{8CFF7052-47BB-9B8B-63D5-5B8EF5627665}"/>
                </a:ext>
              </a:extLst>
            </p:cNvPr>
            <p:cNvSpPr/>
            <p:nvPr/>
          </p:nvSpPr>
          <p:spPr>
            <a:xfrm>
              <a:off x="0" y="0"/>
              <a:ext cx="2881856" cy="827954"/>
            </a:xfrm>
            <a:custGeom>
              <a:avLst/>
              <a:gdLst/>
              <a:ahLst/>
              <a:cxnLst/>
              <a:rect l="l" t="t" r="r" b="b"/>
              <a:pathLst>
                <a:path w="21587" h="21561" extrusionOk="0">
                  <a:moveTo>
                    <a:pt x="2980" y="0"/>
                  </a:moveTo>
                  <a:lnTo>
                    <a:pt x="18387" y="65"/>
                  </a:lnTo>
                  <a:cubicBezTo>
                    <a:pt x="18773" y="189"/>
                    <a:pt x="19144" y="552"/>
                    <a:pt x="19475" y="1129"/>
                  </a:cubicBezTo>
                  <a:cubicBezTo>
                    <a:pt x="19760" y="1626"/>
                    <a:pt x="20009" y="2273"/>
                    <a:pt x="20209" y="3035"/>
                  </a:cubicBezTo>
                  <a:lnTo>
                    <a:pt x="21346" y="8246"/>
                  </a:lnTo>
                  <a:cubicBezTo>
                    <a:pt x="21499" y="8969"/>
                    <a:pt x="21581" y="9792"/>
                    <a:pt x="21587" y="10633"/>
                  </a:cubicBezTo>
                  <a:cubicBezTo>
                    <a:pt x="21592" y="11506"/>
                    <a:pt x="21514" y="12367"/>
                    <a:pt x="21360" y="13124"/>
                  </a:cubicBezTo>
                  <a:lnTo>
                    <a:pt x="19953" y="19846"/>
                  </a:lnTo>
                  <a:cubicBezTo>
                    <a:pt x="19744" y="20512"/>
                    <a:pt x="19477" y="21011"/>
                    <a:pt x="19178" y="21295"/>
                  </a:cubicBezTo>
                  <a:cubicBezTo>
                    <a:pt x="18947" y="21515"/>
                    <a:pt x="18703" y="21600"/>
                    <a:pt x="18460" y="21544"/>
                  </a:cubicBezTo>
                  <a:lnTo>
                    <a:pt x="3281" y="21329"/>
                  </a:lnTo>
                  <a:cubicBezTo>
                    <a:pt x="2977" y="21452"/>
                    <a:pt x="2666" y="21349"/>
                    <a:pt x="2379" y="21029"/>
                  </a:cubicBezTo>
                  <a:cubicBezTo>
                    <a:pt x="2109" y="20728"/>
                    <a:pt x="1869" y="20243"/>
                    <a:pt x="1681" y="19618"/>
                  </a:cubicBezTo>
                  <a:lnTo>
                    <a:pt x="277" y="13669"/>
                  </a:lnTo>
                  <a:cubicBezTo>
                    <a:pt x="89" y="12925"/>
                    <a:pt x="-8" y="12026"/>
                    <a:pt x="1" y="11111"/>
                  </a:cubicBezTo>
                  <a:cubicBezTo>
                    <a:pt x="9" y="10233"/>
                    <a:pt x="115" y="9384"/>
                    <a:pt x="303" y="8685"/>
                  </a:cubicBezTo>
                  <a:lnTo>
                    <a:pt x="1570" y="2636"/>
                  </a:lnTo>
                  <a:cubicBezTo>
                    <a:pt x="1687" y="1936"/>
                    <a:pt x="1865" y="1331"/>
                    <a:pt x="2087" y="877"/>
                  </a:cubicBezTo>
                  <a:cubicBezTo>
                    <a:pt x="2348" y="342"/>
                    <a:pt x="2658" y="37"/>
                    <a:pt x="2980" y="0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101600" dist="117707" dir="2013274" rotWithShape="0">
                <a:srgbClr val="000000">
                  <a:alpha val="29019"/>
                </a:srgbClr>
              </a:outerShdw>
            </a:effectLst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651;p24">
              <a:extLst>
                <a:ext uri="{FF2B5EF4-FFF2-40B4-BE49-F238E27FC236}">
                  <a16:creationId xmlns:a16="http://schemas.microsoft.com/office/drawing/2014/main" id="{6BA13513-763E-7609-9BD5-11C225A872DA}"/>
                </a:ext>
              </a:extLst>
            </p:cNvPr>
            <p:cNvSpPr/>
            <p:nvPr/>
          </p:nvSpPr>
          <p:spPr>
            <a:xfrm>
              <a:off x="76012" y="57845"/>
              <a:ext cx="764491" cy="712264"/>
            </a:xfrm>
            <a:custGeom>
              <a:avLst/>
              <a:gdLst/>
              <a:ahLst/>
              <a:cxnLst/>
              <a:rect l="l" t="t" r="r" b="b"/>
              <a:pathLst>
                <a:path w="21545" h="21583" extrusionOk="0">
                  <a:moveTo>
                    <a:pt x="6995" y="63"/>
                  </a:moveTo>
                  <a:lnTo>
                    <a:pt x="14146" y="3"/>
                  </a:lnTo>
                  <a:cubicBezTo>
                    <a:pt x="14614" y="-17"/>
                    <a:pt x="15080" y="70"/>
                    <a:pt x="15513" y="259"/>
                  </a:cubicBezTo>
                  <a:cubicBezTo>
                    <a:pt x="15911" y="433"/>
                    <a:pt x="16274" y="689"/>
                    <a:pt x="16581" y="1012"/>
                  </a:cubicBezTo>
                  <a:lnTo>
                    <a:pt x="20981" y="8570"/>
                  </a:lnTo>
                  <a:cubicBezTo>
                    <a:pt x="21329" y="9291"/>
                    <a:pt x="21521" y="10087"/>
                    <a:pt x="21543" y="10898"/>
                  </a:cubicBezTo>
                  <a:cubicBezTo>
                    <a:pt x="21563" y="11623"/>
                    <a:pt x="21447" y="12346"/>
                    <a:pt x="21201" y="13022"/>
                  </a:cubicBezTo>
                  <a:lnTo>
                    <a:pt x="17586" y="19473"/>
                  </a:lnTo>
                  <a:cubicBezTo>
                    <a:pt x="17302" y="20094"/>
                    <a:pt x="16859" y="20615"/>
                    <a:pt x="16309" y="20976"/>
                  </a:cubicBezTo>
                  <a:cubicBezTo>
                    <a:pt x="15812" y="21302"/>
                    <a:pt x="15246" y="21485"/>
                    <a:pt x="14664" y="21506"/>
                  </a:cubicBezTo>
                  <a:lnTo>
                    <a:pt x="8109" y="21583"/>
                  </a:lnTo>
                  <a:cubicBezTo>
                    <a:pt x="7566" y="21505"/>
                    <a:pt x="7036" y="21344"/>
                    <a:pt x="6536" y="21105"/>
                  </a:cubicBezTo>
                  <a:cubicBezTo>
                    <a:pt x="5994" y="20847"/>
                    <a:pt x="5493" y="20501"/>
                    <a:pt x="5049" y="20079"/>
                  </a:cubicBezTo>
                  <a:cubicBezTo>
                    <a:pt x="4224" y="18920"/>
                    <a:pt x="3422" y="17744"/>
                    <a:pt x="2641" y="16551"/>
                  </a:cubicBezTo>
                  <a:cubicBezTo>
                    <a:pt x="1878" y="15383"/>
                    <a:pt x="1136" y="14199"/>
                    <a:pt x="416" y="13000"/>
                  </a:cubicBezTo>
                  <a:cubicBezTo>
                    <a:pt x="104" y="12388"/>
                    <a:pt x="-37" y="11694"/>
                    <a:pt x="8" y="10999"/>
                  </a:cubicBezTo>
                  <a:cubicBezTo>
                    <a:pt x="51" y="10343"/>
                    <a:pt x="258" y="9712"/>
                    <a:pt x="607" y="9172"/>
                  </a:cubicBezTo>
                  <a:lnTo>
                    <a:pt x="4193" y="1765"/>
                  </a:lnTo>
                  <a:cubicBezTo>
                    <a:pt x="4457" y="1317"/>
                    <a:pt x="4809" y="937"/>
                    <a:pt x="5224" y="650"/>
                  </a:cubicBezTo>
                  <a:cubicBezTo>
                    <a:pt x="5753" y="283"/>
                    <a:pt x="6366" y="80"/>
                    <a:pt x="6995" y="63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101600" dist="117707" dir="2013274" rotWithShape="0">
                <a:srgbClr val="000000">
                  <a:alpha val="29019"/>
                </a:srgbClr>
              </a:outerShdw>
            </a:effectLst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10" name="Google Shape;658;p24">
            <a:extLst>
              <a:ext uri="{FF2B5EF4-FFF2-40B4-BE49-F238E27FC236}">
                <a16:creationId xmlns:a16="http://schemas.microsoft.com/office/drawing/2014/main" id="{E2D0752A-B363-462A-CB3C-66CDE35CABEB}"/>
              </a:ext>
            </a:extLst>
          </p:cNvPr>
          <p:cNvGrpSpPr/>
          <p:nvPr/>
        </p:nvGrpSpPr>
        <p:grpSpPr>
          <a:xfrm>
            <a:off x="2279959" y="4462541"/>
            <a:ext cx="3394699" cy="771517"/>
            <a:chOff x="0" y="0"/>
            <a:chExt cx="2348027" cy="827954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111" name="Google Shape;659;p24">
              <a:extLst>
                <a:ext uri="{FF2B5EF4-FFF2-40B4-BE49-F238E27FC236}">
                  <a16:creationId xmlns:a16="http://schemas.microsoft.com/office/drawing/2014/main" id="{CB28FFDE-6FC2-5970-A410-2A4A86C69CE4}"/>
                </a:ext>
              </a:extLst>
            </p:cNvPr>
            <p:cNvSpPr/>
            <p:nvPr/>
          </p:nvSpPr>
          <p:spPr>
            <a:xfrm>
              <a:off x="0" y="0"/>
              <a:ext cx="2348027" cy="827954"/>
            </a:xfrm>
            <a:custGeom>
              <a:avLst/>
              <a:gdLst/>
              <a:ahLst/>
              <a:cxnLst/>
              <a:rect l="l" t="t" r="r" b="b"/>
              <a:pathLst>
                <a:path w="21587" h="21561" extrusionOk="0">
                  <a:moveTo>
                    <a:pt x="2980" y="0"/>
                  </a:moveTo>
                  <a:lnTo>
                    <a:pt x="18387" y="65"/>
                  </a:lnTo>
                  <a:cubicBezTo>
                    <a:pt x="18773" y="189"/>
                    <a:pt x="19144" y="552"/>
                    <a:pt x="19475" y="1129"/>
                  </a:cubicBezTo>
                  <a:cubicBezTo>
                    <a:pt x="19760" y="1626"/>
                    <a:pt x="20009" y="2273"/>
                    <a:pt x="20209" y="3035"/>
                  </a:cubicBezTo>
                  <a:lnTo>
                    <a:pt x="21346" y="8246"/>
                  </a:lnTo>
                  <a:cubicBezTo>
                    <a:pt x="21499" y="8969"/>
                    <a:pt x="21581" y="9792"/>
                    <a:pt x="21587" y="10633"/>
                  </a:cubicBezTo>
                  <a:cubicBezTo>
                    <a:pt x="21592" y="11506"/>
                    <a:pt x="21514" y="12367"/>
                    <a:pt x="21360" y="13124"/>
                  </a:cubicBezTo>
                  <a:lnTo>
                    <a:pt x="19953" y="19846"/>
                  </a:lnTo>
                  <a:cubicBezTo>
                    <a:pt x="19744" y="20512"/>
                    <a:pt x="19477" y="21011"/>
                    <a:pt x="19178" y="21295"/>
                  </a:cubicBezTo>
                  <a:cubicBezTo>
                    <a:pt x="18947" y="21515"/>
                    <a:pt x="18703" y="21600"/>
                    <a:pt x="18460" y="21544"/>
                  </a:cubicBezTo>
                  <a:lnTo>
                    <a:pt x="3281" y="21329"/>
                  </a:lnTo>
                  <a:cubicBezTo>
                    <a:pt x="2977" y="21452"/>
                    <a:pt x="2666" y="21349"/>
                    <a:pt x="2379" y="21029"/>
                  </a:cubicBezTo>
                  <a:cubicBezTo>
                    <a:pt x="2109" y="20728"/>
                    <a:pt x="1869" y="20243"/>
                    <a:pt x="1681" y="19618"/>
                  </a:cubicBezTo>
                  <a:lnTo>
                    <a:pt x="277" y="13669"/>
                  </a:lnTo>
                  <a:cubicBezTo>
                    <a:pt x="89" y="12925"/>
                    <a:pt x="-8" y="12026"/>
                    <a:pt x="1" y="11111"/>
                  </a:cubicBezTo>
                  <a:cubicBezTo>
                    <a:pt x="9" y="10233"/>
                    <a:pt x="115" y="9384"/>
                    <a:pt x="303" y="8685"/>
                  </a:cubicBezTo>
                  <a:lnTo>
                    <a:pt x="1570" y="2636"/>
                  </a:lnTo>
                  <a:cubicBezTo>
                    <a:pt x="1687" y="1936"/>
                    <a:pt x="1865" y="1331"/>
                    <a:pt x="2087" y="877"/>
                  </a:cubicBezTo>
                  <a:cubicBezTo>
                    <a:pt x="2348" y="342"/>
                    <a:pt x="2658" y="37"/>
                    <a:pt x="2980" y="0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101600" dist="117707" dir="2013274" rotWithShape="0">
                <a:srgbClr val="000000">
                  <a:alpha val="29019"/>
                </a:srgbClr>
              </a:outerShdw>
            </a:effectLst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660;p24">
              <a:extLst>
                <a:ext uri="{FF2B5EF4-FFF2-40B4-BE49-F238E27FC236}">
                  <a16:creationId xmlns:a16="http://schemas.microsoft.com/office/drawing/2014/main" id="{FC69EE14-3598-DFD5-58B6-23C3045241B9}"/>
                </a:ext>
              </a:extLst>
            </p:cNvPr>
            <p:cNvSpPr/>
            <p:nvPr/>
          </p:nvSpPr>
          <p:spPr>
            <a:xfrm>
              <a:off x="76012" y="57845"/>
              <a:ext cx="500246" cy="712263"/>
            </a:xfrm>
            <a:custGeom>
              <a:avLst/>
              <a:gdLst/>
              <a:ahLst/>
              <a:cxnLst/>
              <a:rect l="l" t="t" r="r" b="b"/>
              <a:pathLst>
                <a:path w="21545" h="21583" extrusionOk="0">
                  <a:moveTo>
                    <a:pt x="6995" y="63"/>
                  </a:moveTo>
                  <a:lnTo>
                    <a:pt x="14146" y="3"/>
                  </a:lnTo>
                  <a:cubicBezTo>
                    <a:pt x="14614" y="-17"/>
                    <a:pt x="15080" y="70"/>
                    <a:pt x="15513" y="259"/>
                  </a:cubicBezTo>
                  <a:cubicBezTo>
                    <a:pt x="15911" y="433"/>
                    <a:pt x="16274" y="689"/>
                    <a:pt x="16581" y="1012"/>
                  </a:cubicBezTo>
                  <a:lnTo>
                    <a:pt x="20981" y="8570"/>
                  </a:lnTo>
                  <a:cubicBezTo>
                    <a:pt x="21329" y="9291"/>
                    <a:pt x="21521" y="10087"/>
                    <a:pt x="21543" y="10898"/>
                  </a:cubicBezTo>
                  <a:cubicBezTo>
                    <a:pt x="21563" y="11623"/>
                    <a:pt x="21447" y="12346"/>
                    <a:pt x="21201" y="13022"/>
                  </a:cubicBezTo>
                  <a:lnTo>
                    <a:pt x="17586" y="19473"/>
                  </a:lnTo>
                  <a:cubicBezTo>
                    <a:pt x="17302" y="20094"/>
                    <a:pt x="16859" y="20615"/>
                    <a:pt x="16309" y="20976"/>
                  </a:cubicBezTo>
                  <a:cubicBezTo>
                    <a:pt x="15812" y="21302"/>
                    <a:pt x="15246" y="21485"/>
                    <a:pt x="14664" y="21506"/>
                  </a:cubicBezTo>
                  <a:lnTo>
                    <a:pt x="8109" y="21583"/>
                  </a:lnTo>
                  <a:cubicBezTo>
                    <a:pt x="7566" y="21505"/>
                    <a:pt x="7036" y="21344"/>
                    <a:pt x="6536" y="21105"/>
                  </a:cubicBezTo>
                  <a:cubicBezTo>
                    <a:pt x="5994" y="20847"/>
                    <a:pt x="5493" y="20501"/>
                    <a:pt x="5049" y="20079"/>
                  </a:cubicBezTo>
                  <a:cubicBezTo>
                    <a:pt x="4224" y="18920"/>
                    <a:pt x="3422" y="17744"/>
                    <a:pt x="2641" y="16551"/>
                  </a:cubicBezTo>
                  <a:cubicBezTo>
                    <a:pt x="1878" y="15383"/>
                    <a:pt x="1136" y="14199"/>
                    <a:pt x="416" y="13000"/>
                  </a:cubicBezTo>
                  <a:cubicBezTo>
                    <a:pt x="104" y="12388"/>
                    <a:pt x="-37" y="11694"/>
                    <a:pt x="8" y="10999"/>
                  </a:cubicBezTo>
                  <a:cubicBezTo>
                    <a:pt x="51" y="10343"/>
                    <a:pt x="258" y="9712"/>
                    <a:pt x="607" y="9172"/>
                  </a:cubicBezTo>
                  <a:lnTo>
                    <a:pt x="4193" y="1765"/>
                  </a:lnTo>
                  <a:cubicBezTo>
                    <a:pt x="4457" y="1317"/>
                    <a:pt x="4809" y="937"/>
                    <a:pt x="5224" y="650"/>
                  </a:cubicBezTo>
                  <a:cubicBezTo>
                    <a:pt x="5753" y="283"/>
                    <a:pt x="6366" y="80"/>
                    <a:pt x="6995" y="63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101600" dist="117707" dir="2013274" rotWithShape="0">
                <a:srgbClr val="000000">
                  <a:alpha val="29019"/>
                </a:srgbClr>
              </a:outerShdw>
            </a:effectLst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" name="Google Shape;648;p24">
            <a:extLst>
              <a:ext uri="{FF2B5EF4-FFF2-40B4-BE49-F238E27FC236}">
                <a16:creationId xmlns:a16="http://schemas.microsoft.com/office/drawing/2014/main" id="{84746ECB-5CDC-9F5A-345D-B3EBB315D076}"/>
              </a:ext>
            </a:extLst>
          </p:cNvPr>
          <p:cNvSpPr/>
          <p:nvPr/>
        </p:nvSpPr>
        <p:spPr>
          <a:xfrm>
            <a:off x="156057" y="2170100"/>
            <a:ext cx="1911399" cy="1700779"/>
          </a:xfrm>
          <a:custGeom>
            <a:avLst/>
            <a:gdLst/>
            <a:ahLst/>
            <a:cxnLst/>
            <a:rect l="l" t="t" r="r" b="b"/>
            <a:pathLst>
              <a:path w="21545" h="21583" extrusionOk="0">
                <a:moveTo>
                  <a:pt x="6995" y="63"/>
                </a:moveTo>
                <a:lnTo>
                  <a:pt x="14146" y="3"/>
                </a:lnTo>
                <a:cubicBezTo>
                  <a:pt x="14614" y="-17"/>
                  <a:pt x="15080" y="70"/>
                  <a:pt x="15513" y="259"/>
                </a:cubicBezTo>
                <a:cubicBezTo>
                  <a:pt x="15911" y="433"/>
                  <a:pt x="16274" y="689"/>
                  <a:pt x="16581" y="1012"/>
                </a:cubicBezTo>
                <a:lnTo>
                  <a:pt x="20981" y="8570"/>
                </a:lnTo>
                <a:cubicBezTo>
                  <a:pt x="21329" y="9291"/>
                  <a:pt x="21521" y="10087"/>
                  <a:pt x="21543" y="10898"/>
                </a:cubicBezTo>
                <a:cubicBezTo>
                  <a:pt x="21563" y="11623"/>
                  <a:pt x="21447" y="12346"/>
                  <a:pt x="21201" y="13022"/>
                </a:cubicBezTo>
                <a:lnTo>
                  <a:pt x="17586" y="19473"/>
                </a:lnTo>
                <a:cubicBezTo>
                  <a:pt x="17302" y="20094"/>
                  <a:pt x="16859" y="20615"/>
                  <a:pt x="16309" y="20976"/>
                </a:cubicBezTo>
                <a:cubicBezTo>
                  <a:pt x="15812" y="21302"/>
                  <a:pt x="15246" y="21485"/>
                  <a:pt x="14664" y="21506"/>
                </a:cubicBezTo>
                <a:lnTo>
                  <a:pt x="8109" y="21583"/>
                </a:lnTo>
                <a:cubicBezTo>
                  <a:pt x="7566" y="21505"/>
                  <a:pt x="7036" y="21344"/>
                  <a:pt x="6536" y="21105"/>
                </a:cubicBezTo>
                <a:cubicBezTo>
                  <a:pt x="5994" y="20847"/>
                  <a:pt x="5493" y="20501"/>
                  <a:pt x="5049" y="20079"/>
                </a:cubicBezTo>
                <a:cubicBezTo>
                  <a:pt x="4224" y="18920"/>
                  <a:pt x="3422" y="17744"/>
                  <a:pt x="2641" y="16551"/>
                </a:cubicBezTo>
                <a:cubicBezTo>
                  <a:pt x="1878" y="15383"/>
                  <a:pt x="1136" y="14199"/>
                  <a:pt x="416" y="13000"/>
                </a:cubicBezTo>
                <a:cubicBezTo>
                  <a:pt x="104" y="12388"/>
                  <a:pt x="-37" y="11694"/>
                  <a:pt x="8" y="10999"/>
                </a:cubicBezTo>
                <a:cubicBezTo>
                  <a:pt x="51" y="10343"/>
                  <a:pt x="258" y="9712"/>
                  <a:pt x="607" y="9172"/>
                </a:cubicBezTo>
                <a:lnTo>
                  <a:pt x="4193" y="1765"/>
                </a:lnTo>
                <a:cubicBezTo>
                  <a:pt x="4457" y="1317"/>
                  <a:pt x="4809" y="937"/>
                  <a:pt x="5224" y="650"/>
                </a:cubicBezTo>
                <a:cubicBezTo>
                  <a:pt x="5753" y="283"/>
                  <a:pt x="6366" y="80"/>
                  <a:pt x="6995" y="6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101600" dist="117707" dir="2013274" rotWithShape="0">
              <a:srgbClr val="000000">
                <a:alpha val="29019"/>
              </a:srgbClr>
            </a:outerShdw>
          </a:effectLst>
        </p:spPr>
        <p:txBody>
          <a:bodyPr spcFirstLastPara="1" wrap="square" lIns="34275" tIns="34275" rIns="34275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" name="Google Shape;649;p24">
            <a:extLst>
              <a:ext uri="{FF2B5EF4-FFF2-40B4-BE49-F238E27FC236}">
                <a16:creationId xmlns:a16="http://schemas.microsoft.com/office/drawing/2014/main" id="{9B1C9959-496D-A5E2-D2D2-A503F88BFB22}"/>
              </a:ext>
            </a:extLst>
          </p:cNvPr>
          <p:cNvGrpSpPr/>
          <p:nvPr/>
        </p:nvGrpSpPr>
        <p:grpSpPr>
          <a:xfrm>
            <a:off x="1736590" y="982706"/>
            <a:ext cx="3131243" cy="785314"/>
            <a:chOff x="0" y="0"/>
            <a:chExt cx="2881856" cy="827954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1" name="Google Shape;650;p24">
              <a:extLst>
                <a:ext uri="{FF2B5EF4-FFF2-40B4-BE49-F238E27FC236}">
                  <a16:creationId xmlns:a16="http://schemas.microsoft.com/office/drawing/2014/main" id="{8ADA279E-8DCB-F843-ACE7-48A40B2E79EF}"/>
                </a:ext>
              </a:extLst>
            </p:cNvPr>
            <p:cNvSpPr/>
            <p:nvPr/>
          </p:nvSpPr>
          <p:spPr>
            <a:xfrm>
              <a:off x="0" y="0"/>
              <a:ext cx="2881856" cy="827954"/>
            </a:xfrm>
            <a:custGeom>
              <a:avLst/>
              <a:gdLst/>
              <a:ahLst/>
              <a:cxnLst/>
              <a:rect l="l" t="t" r="r" b="b"/>
              <a:pathLst>
                <a:path w="21587" h="21561" extrusionOk="0">
                  <a:moveTo>
                    <a:pt x="2980" y="0"/>
                  </a:moveTo>
                  <a:lnTo>
                    <a:pt x="18387" y="65"/>
                  </a:lnTo>
                  <a:cubicBezTo>
                    <a:pt x="18773" y="189"/>
                    <a:pt x="19144" y="552"/>
                    <a:pt x="19475" y="1129"/>
                  </a:cubicBezTo>
                  <a:cubicBezTo>
                    <a:pt x="19760" y="1626"/>
                    <a:pt x="20009" y="2273"/>
                    <a:pt x="20209" y="3035"/>
                  </a:cubicBezTo>
                  <a:lnTo>
                    <a:pt x="21346" y="8246"/>
                  </a:lnTo>
                  <a:cubicBezTo>
                    <a:pt x="21499" y="8969"/>
                    <a:pt x="21581" y="9792"/>
                    <a:pt x="21587" y="10633"/>
                  </a:cubicBezTo>
                  <a:cubicBezTo>
                    <a:pt x="21592" y="11506"/>
                    <a:pt x="21514" y="12367"/>
                    <a:pt x="21360" y="13124"/>
                  </a:cubicBezTo>
                  <a:lnTo>
                    <a:pt x="19953" y="19846"/>
                  </a:lnTo>
                  <a:cubicBezTo>
                    <a:pt x="19744" y="20512"/>
                    <a:pt x="19477" y="21011"/>
                    <a:pt x="19178" y="21295"/>
                  </a:cubicBezTo>
                  <a:cubicBezTo>
                    <a:pt x="18947" y="21515"/>
                    <a:pt x="18703" y="21600"/>
                    <a:pt x="18460" y="21544"/>
                  </a:cubicBezTo>
                  <a:lnTo>
                    <a:pt x="3281" y="21329"/>
                  </a:lnTo>
                  <a:cubicBezTo>
                    <a:pt x="2977" y="21452"/>
                    <a:pt x="2666" y="21349"/>
                    <a:pt x="2379" y="21029"/>
                  </a:cubicBezTo>
                  <a:cubicBezTo>
                    <a:pt x="2109" y="20728"/>
                    <a:pt x="1869" y="20243"/>
                    <a:pt x="1681" y="19618"/>
                  </a:cubicBezTo>
                  <a:lnTo>
                    <a:pt x="277" y="13669"/>
                  </a:lnTo>
                  <a:cubicBezTo>
                    <a:pt x="89" y="12925"/>
                    <a:pt x="-8" y="12026"/>
                    <a:pt x="1" y="11111"/>
                  </a:cubicBezTo>
                  <a:cubicBezTo>
                    <a:pt x="9" y="10233"/>
                    <a:pt x="115" y="9384"/>
                    <a:pt x="303" y="8685"/>
                  </a:cubicBezTo>
                  <a:lnTo>
                    <a:pt x="1570" y="2636"/>
                  </a:lnTo>
                  <a:cubicBezTo>
                    <a:pt x="1687" y="1936"/>
                    <a:pt x="1865" y="1331"/>
                    <a:pt x="2087" y="877"/>
                  </a:cubicBezTo>
                  <a:cubicBezTo>
                    <a:pt x="2348" y="342"/>
                    <a:pt x="2658" y="37"/>
                    <a:pt x="2980" y="0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101600" dist="117707" dir="2013274" rotWithShape="0">
                <a:srgbClr val="000000">
                  <a:alpha val="29019"/>
                </a:srgbClr>
              </a:outerShdw>
            </a:effectLst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651;p24">
              <a:extLst>
                <a:ext uri="{FF2B5EF4-FFF2-40B4-BE49-F238E27FC236}">
                  <a16:creationId xmlns:a16="http://schemas.microsoft.com/office/drawing/2014/main" id="{C54F9717-AA99-03A6-83D8-204660E90D67}"/>
                </a:ext>
              </a:extLst>
            </p:cNvPr>
            <p:cNvSpPr/>
            <p:nvPr/>
          </p:nvSpPr>
          <p:spPr>
            <a:xfrm>
              <a:off x="76012" y="57845"/>
              <a:ext cx="764491" cy="712264"/>
            </a:xfrm>
            <a:custGeom>
              <a:avLst/>
              <a:gdLst/>
              <a:ahLst/>
              <a:cxnLst/>
              <a:rect l="l" t="t" r="r" b="b"/>
              <a:pathLst>
                <a:path w="21545" h="21583" extrusionOk="0">
                  <a:moveTo>
                    <a:pt x="6995" y="63"/>
                  </a:moveTo>
                  <a:lnTo>
                    <a:pt x="14146" y="3"/>
                  </a:lnTo>
                  <a:cubicBezTo>
                    <a:pt x="14614" y="-17"/>
                    <a:pt x="15080" y="70"/>
                    <a:pt x="15513" y="259"/>
                  </a:cubicBezTo>
                  <a:cubicBezTo>
                    <a:pt x="15911" y="433"/>
                    <a:pt x="16274" y="689"/>
                    <a:pt x="16581" y="1012"/>
                  </a:cubicBezTo>
                  <a:lnTo>
                    <a:pt x="20981" y="8570"/>
                  </a:lnTo>
                  <a:cubicBezTo>
                    <a:pt x="21329" y="9291"/>
                    <a:pt x="21521" y="10087"/>
                    <a:pt x="21543" y="10898"/>
                  </a:cubicBezTo>
                  <a:cubicBezTo>
                    <a:pt x="21563" y="11623"/>
                    <a:pt x="21447" y="12346"/>
                    <a:pt x="21201" y="13022"/>
                  </a:cubicBezTo>
                  <a:lnTo>
                    <a:pt x="17586" y="19473"/>
                  </a:lnTo>
                  <a:cubicBezTo>
                    <a:pt x="17302" y="20094"/>
                    <a:pt x="16859" y="20615"/>
                    <a:pt x="16309" y="20976"/>
                  </a:cubicBezTo>
                  <a:cubicBezTo>
                    <a:pt x="15812" y="21302"/>
                    <a:pt x="15246" y="21485"/>
                    <a:pt x="14664" y="21506"/>
                  </a:cubicBezTo>
                  <a:lnTo>
                    <a:pt x="8109" y="21583"/>
                  </a:lnTo>
                  <a:cubicBezTo>
                    <a:pt x="7566" y="21505"/>
                    <a:pt x="7036" y="21344"/>
                    <a:pt x="6536" y="21105"/>
                  </a:cubicBezTo>
                  <a:cubicBezTo>
                    <a:pt x="5994" y="20847"/>
                    <a:pt x="5493" y="20501"/>
                    <a:pt x="5049" y="20079"/>
                  </a:cubicBezTo>
                  <a:cubicBezTo>
                    <a:pt x="4224" y="18920"/>
                    <a:pt x="3422" y="17744"/>
                    <a:pt x="2641" y="16551"/>
                  </a:cubicBezTo>
                  <a:cubicBezTo>
                    <a:pt x="1878" y="15383"/>
                    <a:pt x="1136" y="14199"/>
                    <a:pt x="416" y="13000"/>
                  </a:cubicBezTo>
                  <a:cubicBezTo>
                    <a:pt x="104" y="12388"/>
                    <a:pt x="-37" y="11694"/>
                    <a:pt x="8" y="10999"/>
                  </a:cubicBezTo>
                  <a:cubicBezTo>
                    <a:pt x="51" y="10343"/>
                    <a:pt x="258" y="9712"/>
                    <a:pt x="607" y="9172"/>
                  </a:cubicBezTo>
                  <a:lnTo>
                    <a:pt x="4193" y="1765"/>
                  </a:lnTo>
                  <a:cubicBezTo>
                    <a:pt x="4457" y="1317"/>
                    <a:pt x="4809" y="937"/>
                    <a:pt x="5224" y="650"/>
                  </a:cubicBezTo>
                  <a:cubicBezTo>
                    <a:pt x="5753" y="283"/>
                    <a:pt x="6366" y="80"/>
                    <a:pt x="6995" y="63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101600" dist="117707" dir="2013274" rotWithShape="0">
                <a:srgbClr val="000000">
                  <a:alpha val="29019"/>
                </a:srgbClr>
              </a:outerShdw>
            </a:effectLst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4" name="Google Shape;652;p24">
            <a:extLst>
              <a:ext uri="{FF2B5EF4-FFF2-40B4-BE49-F238E27FC236}">
                <a16:creationId xmlns:a16="http://schemas.microsoft.com/office/drawing/2014/main" id="{32DE63E7-D827-F31D-B3A4-936D6B72DA7C}"/>
              </a:ext>
            </a:extLst>
          </p:cNvPr>
          <p:cNvGrpSpPr/>
          <p:nvPr/>
        </p:nvGrpSpPr>
        <p:grpSpPr>
          <a:xfrm>
            <a:off x="2286347" y="1867672"/>
            <a:ext cx="3388311" cy="762824"/>
            <a:chOff x="0" y="0"/>
            <a:chExt cx="2348027" cy="827954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17" name="Google Shape;653;p24">
              <a:extLst>
                <a:ext uri="{FF2B5EF4-FFF2-40B4-BE49-F238E27FC236}">
                  <a16:creationId xmlns:a16="http://schemas.microsoft.com/office/drawing/2014/main" id="{EFA5FC89-9181-703B-7E60-C4AE1BDCBCDB}"/>
                </a:ext>
              </a:extLst>
            </p:cNvPr>
            <p:cNvSpPr/>
            <p:nvPr/>
          </p:nvSpPr>
          <p:spPr>
            <a:xfrm>
              <a:off x="0" y="0"/>
              <a:ext cx="2348027" cy="827954"/>
            </a:xfrm>
            <a:custGeom>
              <a:avLst/>
              <a:gdLst/>
              <a:ahLst/>
              <a:cxnLst/>
              <a:rect l="l" t="t" r="r" b="b"/>
              <a:pathLst>
                <a:path w="21587" h="21561" extrusionOk="0">
                  <a:moveTo>
                    <a:pt x="2980" y="0"/>
                  </a:moveTo>
                  <a:lnTo>
                    <a:pt x="18387" y="65"/>
                  </a:lnTo>
                  <a:cubicBezTo>
                    <a:pt x="18773" y="189"/>
                    <a:pt x="19144" y="552"/>
                    <a:pt x="19475" y="1129"/>
                  </a:cubicBezTo>
                  <a:cubicBezTo>
                    <a:pt x="19760" y="1626"/>
                    <a:pt x="20009" y="2273"/>
                    <a:pt x="20209" y="3035"/>
                  </a:cubicBezTo>
                  <a:lnTo>
                    <a:pt x="21346" y="8246"/>
                  </a:lnTo>
                  <a:cubicBezTo>
                    <a:pt x="21499" y="8969"/>
                    <a:pt x="21581" y="9792"/>
                    <a:pt x="21587" y="10633"/>
                  </a:cubicBezTo>
                  <a:cubicBezTo>
                    <a:pt x="21592" y="11506"/>
                    <a:pt x="21514" y="12367"/>
                    <a:pt x="21360" y="13124"/>
                  </a:cubicBezTo>
                  <a:lnTo>
                    <a:pt x="19953" y="19846"/>
                  </a:lnTo>
                  <a:cubicBezTo>
                    <a:pt x="19744" y="20512"/>
                    <a:pt x="19477" y="21011"/>
                    <a:pt x="19178" y="21295"/>
                  </a:cubicBezTo>
                  <a:cubicBezTo>
                    <a:pt x="18947" y="21515"/>
                    <a:pt x="18703" y="21600"/>
                    <a:pt x="18460" y="21544"/>
                  </a:cubicBezTo>
                  <a:lnTo>
                    <a:pt x="3281" y="21329"/>
                  </a:lnTo>
                  <a:cubicBezTo>
                    <a:pt x="2977" y="21452"/>
                    <a:pt x="2666" y="21349"/>
                    <a:pt x="2379" y="21029"/>
                  </a:cubicBezTo>
                  <a:cubicBezTo>
                    <a:pt x="2109" y="20728"/>
                    <a:pt x="1869" y="20243"/>
                    <a:pt x="1681" y="19618"/>
                  </a:cubicBezTo>
                  <a:lnTo>
                    <a:pt x="277" y="13669"/>
                  </a:lnTo>
                  <a:cubicBezTo>
                    <a:pt x="89" y="12925"/>
                    <a:pt x="-8" y="12026"/>
                    <a:pt x="1" y="11111"/>
                  </a:cubicBezTo>
                  <a:cubicBezTo>
                    <a:pt x="9" y="10233"/>
                    <a:pt x="115" y="9384"/>
                    <a:pt x="303" y="8685"/>
                  </a:cubicBezTo>
                  <a:lnTo>
                    <a:pt x="1570" y="2636"/>
                  </a:lnTo>
                  <a:cubicBezTo>
                    <a:pt x="1687" y="1936"/>
                    <a:pt x="1865" y="1331"/>
                    <a:pt x="2087" y="877"/>
                  </a:cubicBezTo>
                  <a:cubicBezTo>
                    <a:pt x="2348" y="342"/>
                    <a:pt x="2658" y="37"/>
                    <a:pt x="2980" y="0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101600" dist="117707" dir="2013274" rotWithShape="0">
                <a:srgbClr val="000000">
                  <a:alpha val="29019"/>
                </a:srgbClr>
              </a:outerShdw>
            </a:effectLst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654;p24">
              <a:extLst>
                <a:ext uri="{FF2B5EF4-FFF2-40B4-BE49-F238E27FC236}">
                  <a16:creationId xmlns:a16="http://schemas.microsoft.com/office/drawing/2014/main" id="{49258BAC-3852-72A6-1D39-112A71A8A6CB}"/>
                </a:ext>
              </a:extLst>
            </p:cNvPr>
            <p:cNvSpPr/>
            <p:nvPr/>
          </p:nvSpPr>
          <p:spPr>
            <a:xfrm>
              <a:off x="76012" y="57845"/>
              <a:ext cx="511570" cy="712264"/>
            </a:xfrm>
            <a:custGeom>
              <a:avLst/>
              <a:gdLst/>
              <a:ahLst/>
              <a:cxnLst/>
              <a:rect l="l" t="t" r="r" b="b"/>
              <a:pathLst>
                <a:path w="21545" h="21583" extrusionOk="0">
                  <a:moveTo>
                    <a:pt x="6995" y="63"/>
                  </a:moveTo>
                  <a:lnTo>
                    <a:pt x="14146" y="3"/>
                  </a:lnTo>
                  <a:cubicBezTo>
                    <a:pt x="14614" y="-17"/>
                    <a:pt x="15080" y="70"/>
                    <a:pt x="15513" y="259"/>
                  </a:cubicBezTo>
                  <a:cubicBezTo>
                    <a:pt x="15911" y="433"/>
                    <a:pt x="16274" y="689"/>
                    <a:pt x="16581" y="1012"/>
                  </a:cubicBezTo>
                  <a:lnTo>
                    <a:pt x="20981" y="8570"/>
                  </a:lnTo>
                  <a:cubicBezTo>
                    <a:pt x="21329" y="9291"/>
                    <a:pt x="21521" y="10087"/>
                    <a:pt x="21543" y="10898"/>
                  </a:cubicBezTo>
                  <a:cubicBezTo>
                    <a:pt x="21563" y="11623"/>
                    <a:pt x="21447" y="12346"/>
                    <a:pt x="21201" y="13022"/>
                  </a:cubicBezTo>
                  <a:lnTo>
                    <a:pt x="17586" y="19473"/>
                  </a:lnTo>
                  <a:cubicBezTo>
                    <a:pt x="17302" y="20094"/>
                    <a:pt x="16859" y="20615"/>
                    <a:pt x="16309" y="20976"/>
                  </a:cubicBezTo>
                  <a:cubicBezTo>
                    <a:pt x="15812" y="21302"/>
                    <a:pt x="15246" y="21485"/>
                    <a:pt x="14664" y="21506"/>
                  </a:cubicBezTo>
                  <a:lnTo>
                    <a:pt x="8109" y="21583"/>
                  </a:lnTo>
                  <a:cubicBezTo>
                    <a:pt x="7566" y="21505"/>
                    <a:pt x="7036" y="21344"/>
                    <a:pt x="6536" y="21105"/>
                  </a:cubicBezTo>
                  <a:cubicBezTo>
                    <a:pt x="5994" y="20847"/>
                    <a:pt x="5493" y="20501"/>
                    <a:pt x="5049" y="20079"/>
                  </a:cubicBezTo>
                  <a:cubicBezTo>
                    <a:pt x="4224" y="18920"/>
                    <a:pt x="3422" y="17744"/>
                    <a:pt x="2641" y="16551"/>
                  </a:cubicBezTo>
                  <a:cubicBezTo>
                    <a:pt x="1878" y="15383"/>
                    <a:pt x="1136" y="14199"/>
                    <a:pt x="416" y="13000"/>
                  </a:cubicBezTo>
                  <a:cubicBezTo>
                    <a:pt x="104" y="12388"/>
                    <a:pt x="-37" y="11694"/>
                    <a:pt x="8" y="10999"/>
                  </a:cubicBezTo>
                  <a:cubicBezTo>
                    <a:pt x="51" y="10343"/>
                    <a:pt x="258" y="9712"/>
                    <a:pt x="607" y="9172"/>
                  </a:cubicBezTo>
                  <a:lnTo>
                    <a:pt x="4193" y="1765"/>
                  </a:lnTo>
                  <a:cubicBezTo>
                    <a:pt x="4457" y="1317"/>
                    <a:pt x="4809" y="937"/>
                    <a:pt x="5224" y="650"/>
                  </a:cubicBezTo>
                  <a:cubicBezTo>
                    <a:pt x="5753" y="283"/>
                    <a:pt x="6366" y="80"/>
                    <a:pt x="6995" y="63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101600" dist="117707" dir="2013274" rotWithShape="0">
                <a:srgbClr val="000000">
                  <a:alpha val="29019"/>
                </a:srgbClr>
              </a:outerShdw>
            </a:effectLst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1" name="Google Shape;655;p24">
            <a:extLst>
              <a:ext uri="{FF2B5EF4-FFF2-40B4-BE49-F238E27FC236}">
                <a16:creationId xmlns:a16="http://schemas.microsoft.com/office/drawing/2014/main" id="{0820D6D7-18BB-2856-62FF-4676B0FA9FFC}"/>
              </a:ext>
            </a:extLst>
          </p:cNvPr>
          <p:cNvGrpSpPr/>
          <p:nvPr/>
        </p:nvGrpSpPr>
        <p:grpSpPr>
          <a:xfrm>
            <a:off x="2436005" y="2735755"/>
            <a:ext cx="3238653" cy="756402"/>
            <a:chOff x="0" y="0"/>
            <a:chExt cx="2348027" cy="827954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22" name="Google Shape;656;p24">
              <a:extLst>
                <a:ext uri="{FF2B5EF4-FFF2-40B4-BE49-F238E27FC236}">
                  <a16:creationId xmlns:a16="http://schemas.microsoft.com/office/drawing/2014/main" id="{26DE0305-CD22-AAAC-8A3A-C6C6C83FA65E}"/>
                </a:ext>
              </a:extLst>
            </p:cNvPr>
            <p:cNvSpPr/>
            <p:nvPr/>
          </p:nvSpPr>
          <p:spPr>
            <a:xfrm>
              <a:off x="0" y="0"/>
              <a:ext cx="2348027" cy="827954"/>
            </a:xfrm>
            <a:custGeom>
              <a:avLst/>
              <a:gdLst/>
              <a:ahLst/>
              <a:cxnLst/>
              <a:rect l="l" t="t" r="r" b="b"/>
              <a:pathLst>
                <a:path w="21587" h="21561" extrusionOk="0">
                  <a:moveTo>
                    <a:pt x="2980" y="0"/>
                  </a:moveTo>
                  <a:lnTo>
                    <a:pt x="18387" y="65"/>
                  </a:lnTo>
                  <a:cubicBezTo>
                    <a:pt x="18773" y="189"/>
                    <a:pt x="19144" y="552"/>
                    <a:pt x="19475" y="1129"/>
                  </a:cubicBezTo>
                  <a:cubicBezTo>
                    <a:pt x="19760" y="1626"/>
                    <a:pt x="20009" y="2273"/>
                    <a:pt x="20209" y="3035"/>
                  </a:cubicBezTo>
                  <a:lnTo>
                    <a:pt x="21346" y="8246"/>
                  </a:lnTo>
                  <a:cubicBezTo>
                    <a:pt x="21499" y="8969"/>
                    <a:pt x="21581" y="9792"/>
                    <a:pt x="21587" y="10633"/>
                  </a:cubicBezTo>
                  <a:cubicBezTo>
                    <a:pt x="21592" y="11506"/>
                    <a:pt x="21514" y="12367"/>
                    <a:pt x="21360" y="13124"/>
                  </a:cubicBezTo>
                  <a:lnTo>
                    <a:pt x="19953" y="19846"/>
                  </a:lnTo>
                  <a:cubicBezTo>
                    <a:pt x="19744" y="20512"/>
                    <a:pt x="19477" y="21011"/>
                    <a:pt x="19178" y="21295"/>
                  </a:cubicBezTo>
                  <a:cubicBezTo>
                    <a:pt x="18947" y="21515"/>
                    <a:pt x="18703" y="21600"/>
                    <a:pt x="18460" y="21544"/>
                  </a:cubicBezTo>
                  <a:lnTo>
                    <a:pt x="3281" y="21329"/>
                  </a:lnTo>
                  <a:cubicBezTo>
                    <a:pt x="2977" y="21452"/>
                    <a:pt x="2666" y="21349"/>
                    <a:pt x="2379" y="21029"/>
                  </a:cubicBezTo>
                  <a:cubicBezTo>
                    <a:pt x="2109" y="20728"/>
                    <a:pt x="1869" y="20243"/>
                    <a:pt x="1681" y="19618"/>
                  </a:cubicBezTo>
                  <a:lnTo>
                    <a:pt x="277" y="13669"/>
                  </a:lnTo>
                  <a:cubicBezTo>
                    <a:pt x="89" y="12925"/>
                    <a:pt x="-8" y="12026"/>
                    <a:pt x="1" y="11111"/>
                  </a:cubicBezTo>
                  <a:cubicBezTo>
                    <a:pt x="9" y="10233"/>
                    <a:pt x="115" y="9384"/>
                    <a:pt x="303" y="8685"/>
                  </a:cubicBezTo>
                  <a:lnTo>
                    <a:pt x="1570" y="2636"/>
                  </a:lnTo>
                  <a:cubicBezTo>
                    <a:pt x="1687" y="1936"/>
                    <a:pt x="1865" y="1331"/>
                    <a:pt x="2087" y="877"/>
                  </a:cubicBezTo>
                  <a:cubicBezTo>
                    <a:pt x="2348" y="342"/>
                    <a:pt x="2658" y="37"/>
                    <a:pt x="2980" y="0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101600" dist="117707" dir="2013274" rotWithShape="0">
                <a:srgbClr val="000000">
                  <a:alpha val="29019"/>
                </a:srgbClr>
              </a:outerShdw>
            </a:effectLst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657;p24">
              <a:extLst>
                <a:ext uri="{FF2B5EF4-FFF2-40B4-BE49-F238E27FC236}">
                  <a16:creationId xmlns:a16="http://schemas.microsoft.com/office/drawing/2014/main" id="{2781AB16-DD6C-B465-5408-8B7E7025933A}"/>
                </a:ext>
              </a:extLst>
            </p:cNvPr>
            <p:cNvSpPr/>
            <p:nvPr/>
          </p:nvSpPr>
          <p:spPr>
            <a:xfrm>
              <a:off x="76012" y="57845"/>
              <a:ext cx="519677" cy="712264"/>
            </a:xfrm>
            <a:custGeom>
              <a:avLst/>
              <a:gdLst/>
              <a:ahLst/>
              <a:cxnLst/>
              <a:rect l="l" t="t" r="r" b="b"/>
              <a:pathLst>
                <a:path w="21545" h="21583" extrusionOk="0">
                  <a:moveTo>
                    <a:pt x="6995" y="63"/>
                  </a:moveTo>
                  <a:lnTo>
                    <a:pt x="14146" y="3"/>
                  </a:lnTo>
                  <a:cubicBezTo>
                    <a:pt x="14614" y="-17"/>
                    <a:pt x="15080" y="70"/>
                    <a:pt x="15513" y="259"/>
                  </a:cubicBezTo>
                  <a:cubicBezTo>
                    <a:pt x="15911" y="433"/>
                    <a:pt x="16274" y="689"/>
                    <a:pt x="16581" y="1012"/>
                  </a:cubicBezTo>
                  <a:lnTo>
                    <a:pt x="20981" y="8570"/>
                  </a:lnTo>
                  <a:cubicBezTo>
                    <a:pt x="21329" y="9291"/>
                    <a:pt x="21521" y="10087"/>
                    <a:pt x="21543" y="10898"/>
                  </a:cubicBezTo>
                  <a:cubicBezTo>
                    <a:pt x="21563" y="11623"/>
                    <a:pt x="21447" y="12346"/>
                    <a:pt x="21201" y="13022"/>
                  </a:cubicBezTo>
                  <a:lnTo>
                    <a:pt x="17586" y="19473"/>
                  </a:lnTo>
                  <a:cubicBezTo>
                    <a:pt x="17302" y="20094"/>
                    <a:pt x="16859" y="20615"/>
                    <a:pt x="16309" y="20976"/>
                  </a:cubicBezTo>
                  <a:cubicBezTo>
                    <a:pt x="15812" y="21302"/>
                    <a:pt x="15246" y="21485"/>
                    <a:pt x="14664" y="21506"/>
                  </a:cubicBezTo>
                  <a:lnTo>
                    <a:pt x="8109" y="21583"/>
                  </a:lnTo>
                  <a:cubicBezTo>
                    <a:pt x="7566" y="21505"/>
                    <a:pt x="7036" y="21344"/>
                    <a:pt x="6536" y="21105"/>
                  </a:cubicBezTo>
                  <a:cubicBezTo>
                    <a:pt x="5994" y="20847"/>
                    <a:pt x="5493" y="20501"/>
                    <a:pt x="5049" y="20079"/>
                  </a:cubicBezTo>
                  <a:cubicBezTo>
                    <a:pt x="4224" y="18920"/>
                    <a:pt x="3422" y="17744"/>
                    <a:pt x="2641" y="16551"/>
                  </a:cubicBezTo>
                  <a:cubicBezTo>
                    <a:pt x="1878" y="15383"/>
                    <a:pt x="1136" y="14199"/>
                    <a:pt x="416" y="13000"/>
                  </a:cubicBezTo>
                  <a:cubicBezTo>
                    <a:pt x="104" y="12388"/>
                    <a:pt x="-37" y="11694"/>
                    <a:pt x="8" y="10999"/>
                  </a:cubicBezTo>
                  <a:cubicBezTo>
                    <a:pt x="51" y="10343"/>
                    <a:pt x="258" y="9712"/>
                    <a:pt x="607" y="9172"/>
                  </a:cubicBezTo>
                  <a:lnTo>
                    <a:pt x="4193" y="1765"/>
                  </a:lnTo>
                  <a:cubicBezTo>
                    <a:pt x="4457" y="1317"/>
                    <a:pt x="4809" y="937"/>
                    <a:pt x="5224" y="650"/>
                  </a:cubicBezTo>
                  <a:cubicBezTo>
                    <a:pt x="5753" y="283"/>
                    <a:pt x="6366" y="80"/>
                    <a:pt x="6995" y="63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101600" dist="117707" dir="2013274" rotWithShape="0">
                <a:srgbClr val="000000">
                  <a:alpha val="29019"/>
                </a:srgbClr>
              </a:outerShdw>
            </a:effectLst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4" name="Google Shape;658;p24">
            <a:extLst>
              <a:ext uri="{FF2B5EF4-FFF2-40B4-BE49-F238E27FC236}">
                <a16:creationId xmlns:a16="http://schemas.microsoft.com/office/drawing/2014/main" id="{1F78D044-4326-CFC5-73C8-A6707B0DAC24}"/>
              </a:ext>
            </a:extLst>
          </p:cNvPr>
          <p:cNvGrpSpPr/>
          <p:nvPr/>
        </p:nvGrpSpPr>
        <p:grpSpPr>
          <a:xfrm>
            <a:off x="2423082" y="3600219"/>
            <a:ext cx="3251576" cy="771517"/>
            <a:chOff x="0" y="0"/>
            <a:chExt cx="2348027" cy="827954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25" name="Google Shape;659;p24">
              <a:extLst>
                <a:ext uri="{FF2B5EF4-FFF2-40B4-BE49-F238E27FC236}">
                  <a16:creationId xmlns:a16="http://schemas.microsoft.com/office/drawing/2014/main" id="{8E3AA7A6-8B2F-0828-C32B-B3DE1119BE55}"/>
                </a:ext>
              </a:extLst>
            </p:cNvPr>
            <p:cNvSpPr/>
            <p:nvPr/>
          </p:nvSpPr>
          <p:spPr>
            <a:xfrm>
              <a:off x="0" y="0"/>
              <a:ext cx="2348027" cy="827954"/>
            </a:xfrm>
            <a:custGeom>
              <a:avLst/>
              <a:gdLst/>
              <a:ahLst/>
              <a:cxnLst/>
              <a:rect l="l" t="t" r="r" b="b"/>
              <a:pathLst>
                <a:path w="21587" h="21561" extrusionOk="0">
                  <a:moveTo>
                    <a:pt x="2980" y="0"/>
                  </a:moveTo>
                  <a:lnTo>
                    <a:pt x="18387" y="65"/>
                  </a:lnTo>
                  <a:cubicBezTo>
                    <a:pt x="18773" y="189"/>
                    <a:pt x="19144" y="552"/>
                    <a:pt x="19475" y="1129"/>
                  </a:cubicBezTo>
                  <a:cubicBezTo>
                    <a:pt x="19760" y="1626"/>
                    <a:pt x="20009" y="2273"/>
                    <a:pt x="20209" y="3035"/>
                  </a:cubicBezTo>
                  <a:lnTo>
                    <a:pt x="21346" y="8246"/>
                  </a:lnTo>
                  <a:cubicBezTo>
                    <a:pt x="21499" y="8969"/>
                    <a:pt x="21581" y="9792"/>
                    <a:pt x="21587" y="10633"/>
                  </a:cubicBezTo>
                  <a:cubicBezTo>
                    <a:pt x="21592" y="11506"/>
                    <a:pt x="21514" y="12367"/>
                    <a:pt x="21360" y="13124"/>
                  </a:cubicBezTo>
                  <a:lnTo>
                    <a:pt x="19953" y="19846"/>
                  </a:lnTo>
                  <a:cubicBezTo>
                    <a:pt x="19744" y="20512"/>
                    <a:pt x="19477" y="21011"/>
                    <a:pt x="19178" y="21295"/>
                  </a:cubicBezTo>
                  <a:cubicBezTo>
                    <a:pt x="18947" y="21515"/>
                    <a:pt x="18703" y="21600"/>
                    <a:pt x="18460" y="21544"/>
                  </a:cubicBezTo>
                  <a:lnTo>
                    <a:pt x="3281" y="21329"/>
                  </a:lnTo>
                  <a:cubicBezTo>
                    <a:pt x="2977" y="21452"/>
                    <a:pt x="2666" y="21349"/>
                    <a:pt x="2379" y="21029"/>
                  </a:cubicBezTo>
                  <a:cubicBezTo>
                    <a:pt x="2109" y="20728"/>
                    <a:pt x="1869" y="20243"/>
                    <a:pt x="1681" y="19618"/>
                  </a:cubicBezTo>
                  <a:lnTo>
                    <a:pt x="277" y="13669"/>
                  </a:lnTo>
                  <a:cubicBezTo>
                    <a:pt x="89" y="12925"/>
                    <a:pt x="-8" y="12026"/>
                    <a:pt x="1" y="11111"/>
                  </a:cubicBezTo>
                  <a:cubicBezTo>
                    <a:pt x="9" y="10233"/>
                    <a:pt x="115" y="9384"/>
                    <a:pt x="303" y="8685"/>
                  </a:cubicBezTo>
                  <a:lnTo>
                    <a:pt x="1570" y="2636"/>
                  </a:lnTo>
                  <a:cubicBezTo>
                    <a:pt x="1687" y="1936"/>
                    <a:pt x="1865" y="1331"/>
                    <a:pt x="2087" y="877"/>
                  </a:cubicBezTo>
                  <a:cubicBezTo>
                    <a:pt x="2348" y="342"/>
                    <a:pt x="2658" y="37"/>
                    <a:pt x="2980" y="0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101600" dist="117707" dir="2013274" rotWithShape="0">
                <a:srgbClr val="000000">
                  <a:alpha val="29019"/>
                </a:srgbClr>
              </a:outerShdw>
            </a:effectLst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660;p24">
              <a:extLst>
                <a:ext uri="{FF2B5EF4-FFF2-40B4-BE49-F238E27FC236}">
                  <a16:creationId xmlns:a16="http://schemas.microsoft.com/office/drawing/2014/main" id="{802A1F26-5410-841F-2A22-CB32ACA70C24}"/>
                </a:ext>
              </a:extLst>
            </p:cNvPr>
            <p:cNvSpPr/>
            <p:nvPr/>
          </p:nvSpPr>
          <p:spPr>
            <a:xfrm>
              <a:off x="76012" y="57845"/>
              <a:ext cx="500246" cy="712263"/>
            </a:xfrm>
            <a:custGeom>
              <a:avLst/>
              <a:gdLst/>
              <a:ahLst/>
              <a:cxnLst/>
              <a:rect l="l" t="t" r="r" b="b"/>
              <a:pathLst>
                <a:path w="21545" h="21583" extrusionOk="0">
                  <a:moveTo>
                    <a:pt x="6995" y="63"/>
                  </a:moveTo>
                  <a:lnTo>
                    <a:pt x="14146" y="3"/>
                  </a:lnTo>
                  <a:cubicBezTo>
                    <a:pt x="14614" y="-17"/>
                    <a:pt x="15080" y="70"/>
                    <a:pt x="15513" y="259"/>
                  </a:cubicBezTo>
                  <a:cubicBezTo>
                    <a:pt x="15911" y="433"/>
                    <a:pt x="16274" y="689"/>
                    <a:pt x="16581" y="1012"/>
                  </a:cubicBezTo>
                  <a:lnTo>
                    <a:pt x="20981" y="8570"/>
                  </a:lnTo>
                  <a:cubicBezTo>
                    <a:pt x="21329" y="9291"/>
                    <a:pt x="21521" y="10087"/>
                    <a:pt x="21543" y="10898"/>
                  </a:cubicBezTo>
                  <a:cubicBezTo>
                    <a:pt x="21563" y="11623"/>
                    <a:pt x="21447" y="12346"/>
                    <a:pt x="21201" y="13022"/>
                  </a:cubicBezTo>
                  <a:lnTo>
                    <a:pt x="17586" y="19473"/>
                  </a:lnTo>
                  <a:cubicBezTo>
                    <a:pt x="17302" y="20094"/>
                    <a:pt x="16859" y="20615"/>
                    <a:pt x="16309" y="20976"/>
                  </a:cubicBezTo>
                  <a:cubicBezTo>
                    <a:pt x="15812" y="21302"/>
                    <a:pt x="15246" y="21485"/>
                    <a:pt x="14664" y="21506"/>
                  </a:cubicBezTo>
                  <a:lnTo>
                    <a:pt x="8109" y="21583"/>
                  </a:lnTo>
                  <a:cubicBezTo>
                    <a:pt x="7566" y="21505"/>
                    <a:pt x="7036" y="21344"/>
                    <a:pt x="6536" y="21105"/>
                  </a:cubicBezTo>
                  <a:cubicBezTo>
                    <a:pt x="5994" y="20847"/>
                    <a:pt x="5493" y="20501"/>
                    <a:pt x="5049" y="20079"/>
                  </a:cubicBezTo>
                  <a:cubicBezTo>
                    <a:pt x="4224" y="18920"/>
                    <a:pt x="3422" y="17744"/>
                    <a:pt x="2641" y="16551"/>
                  </a:cubicBezTo>
                  <a:cubicBezTo>
                    <a:pt x="1878" y="15383"/>
                    <a:pt x="1136" y="14199"/>
                    <a:pt x="416" y="13000"/>
                  </a:cubicBezTo>
                  <a:cubicBezTo>
                    <a:pt x="104" y="12388"/>
                    <a:pt x="-37" y="11694"/>
                    <a:pt x="8" y="10999"/>
                  </a:cubicBezTo>
                  <a:cubicBezTo>
                    <a:pt x="51" y="10343"/>
                    <a:pt x="258" y="9712"/>
                    <a:pt x="607" y="9172"/>
                  </a:cubicBezTo>
                  <a:lnTo>
                    <a:pt x="4193" y="1765"/>
                  </a:lnTo>
                  <a:cubicBezTo>
                    <a:pt x="4457" y="1317"/>
                    <a:pt x="4809" y="937"/>
                    <a:pt x="5224" y="650"/>
                  </a:cubicBezTo>
                  <a:cubicBezTo>
                    <a:pt x="5753" y="283"/>
                    <a:pt x="6366" y="80"/>
                    <a:pt x="6995" y="63"/>
                  </a:cubicBezTo>
                  <a:close/>
                </a:path>
              </a:pathLst>
            </a:custGeom>
            <a:grpFill/>
            <a:ln>
              <a:noFill/>
            </a:ln>
            <a:effectLst>
              <a:outerShdw blurRad="101600" dist="117707" dir="2013274" rotWithShape="0">
                <a:srgbClr val="000000">
                  <a:alpha val="29019"/>
                </a:srgbClr>
              </a:outerShdw>
            </a:effectLst>
          </p:spPr>
          <p:txBody>
            <a:bodyPr spcFirstLastPara="1" wrap="square" lIns="34275" tIns="34275" rIns="34275" bIns="3427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1" name="Google Shape;664;p24">
            <a:extLst>
              <a:ext uri="{FF2B5EF4-FFF2-40B4-BE49-F238E27FC236}">
                <a16:creationId xmlns:a16="http://schemas.microsoft.com/office/drawing/2014/main" id="{49A253A6-C7CB-7E5F-0E5E-F088076CAA60}"/>
              </a:ext>
            </a:extLst>
          </p:cNvPr>
          <p:cNvSpPr/>
          <p:nvPr/>
        </p:nvSpPr>
        <p:spPr>
          <a:xfrm>
            <a:off x="246361" y="2151214"/>
            <a:ext cx="1836851" cy="1711364"/>
          </a:xfrm>
          <a:custGeom>
            <a:avLst/>
            <a:gdLst/>
            <a:ahLst/>
            <a:cxnLst/>
            <a:rect l="l" t="t" r="r" b="b"/>
            <a:pathLst>
              <a:path w="21545" h="21583" extrusionOk="0">
                <a:moveTo>
                  <a:pt x="6995" y="63"/>
                </a:moveTo>
                <a:lnTo>
                  <a:pt x="14146" y="3"/>
                </a:lnTo>
                <a:cubicBezTo>
                  <a:pt x="14614" y="-17"/>
                  <a:pt x="15080" y="70"/>
                  <a:pt x="15513" y="259"/>
                </a:cubicBezTo>
                <a:cubicBezTo>
                  <a:pt x="15911" y="433"/>
                  <a:pt x="16274" y="689"/>
                  <a:pt x="16581" y="1012"/>
                </a:cubicBezTo>
                <a:lnTo>
                  <a:pt x="20981" y="8570"/>
                </a:lnTo>
                <a:cubicBezTo>
                  <a:pt x="21329" y="9291"/>
                  <a:pt x="21521" y="10087"/>
                  <a:pt x="21543" y="10898"/>
                </a:cubicBezTo>
                <a:cubicBezTo>
                  <a:pt x="21563" y="11623"/>
                  <a:pt x="21447" y="12346"/>
                  <a:pt x="21201" y="13022"/>
                </a:cubicBezTo>
                <a:lnTo>
                  <a:pt x="17586" y="19473"/>
                </a:lnTo>
                <a:cubicBezTo>
                  <a:pt x="17302" y="20094"/>
                  <a:pt x="16859" y="20615"/>
                  <a:pt x="16309" y="20976"/>
                </a:cubicBezTo>
                <a:cubicBezTo>
                  <a:pt x="15812" y="21302"/>
                  <a:pt x="15246" y="21485"/>
                  <a:pt x="14664" y="21506"/>
                </a:cubicBezTo>
                <a:lnTo>
                  <a:pt x="8109" y="21583"/>
                </a:lnTo>
                <a:cubicBezTo>
                  <a:pt x="7566" y="21505"/>
                  <a:pt x="7036" y="21344"/>
                  <a:pt x="6536" y="21105"/>
                </a:cubicBezTo>
                <a:cubicBezTo>
                  <a:pt x="5994" y="20847"/>
                  <a:pt x="5493" y="20501"/>
                  <a:pt x="5049" y="20079"/>
                </a:cubicBezTo>
                <a:cubicBezTo>
                  <a:pt x="4224" y="18920"/>
                  <a:pt x="3422" y="17744"/>
                  <a:pt x="2641" y="16551"/>
                </a:cubicBezTo>
                <a:cubicBezTo>
                  <a:pt x="1878" y="15383"/>
                  <a:pt x="1136" y="14199"/>
                  <a:pt x="416" y="13000"/>
                </a:cubicBezTo>
                <a:cubicBezTo>
                  <a:pt x="104" y="12388"/>
                  <a:pt x="-37" y="11694"/>
                  <a:pt x="8" y="10999"/>
                </a:cubicBezTo>
                <a:cubicBezTo>
                  <a:pt x="51" y="10343"/>
                  <a:pt x="258" y="9712"/>
                  <a:pt x="607" y="9172"/>
                </a:cubicBezTo>
                <a:lnTo>
                  <a:pt x="4193" y="1765"/>
                </a:lnTo>
                <a:cubicBezTo>
                  <a:pt x="4457" y="1317"/>
                  <a:pt x="4809" y="937"/>
                  <a:pt x="5224" y="650"/>
                </a:cubicBezTo>
                <a:cubicBezTo>
                  <a:pt x="5753" y="283"/>
                  <a:pt x="6366" y="80"/>
                  <a:pt x="6995" y="63"/>
                </a:cubicBezTo>
                <a:close/>
              </a:path>
            </a:pathLst>
          </a:custGeom>
          <a:noFill/>
          <a:ln w="38100" cap="flat" cmpd="sng">
            <a:solidFill>
              <a:schemeClr val="accent2">
                <a:lumMod val="75000"/>
              </a:schemeClr>
            </a:solidFill>
            <a:prstDash val="lgDash"/>
            <a:miter lim="400000"/>
            <a:headEnd type="none" w="sm" len="sm"/>
            <a:tailEnd type="none" w="sm" len="sm"/>
          </a:ln>
        </p:spPr>
        <p:txBody>
          <a:bodyPr spcFirstLastPara="1" wrap="square" lIns="34275" tIns="34275" rIns="34275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2" name="Google Shape;665;p24">
            <a:extLst>
              <a:ext uri="{FF2B5EF4-FFF2-40B4-BE49-F238E27FC236}">
                <a16:creationId xmlns:a16="http://schemas.microsoft.com/office/drawing/2014/main" id="{17593B67-B7F0-FE1E-DA82-B58E61BAA75D}"/>
              </a:ext>
            </a:extLst>
          </p:cNvPr>
          <p:cNvGrpSpPr/>
          <p:nvPr/>
        </p:nvGrpSpPr>
        <p:grpSpPr>
          <a:xfrm rot="784943" flipH="1">
            <a:off x="1656211" y="1375056"/>
            <a:ext cx="45719" cy="870488"/>
            <a:chOff x="0" y="6716"/>
            <a:chExt cx="426464" cy="930841"/>
          </a:xfrm>
        </p:grpSpPr>
        <p:cxnSp>
          <p:nvCxnSpPr>
            <p:cNvPr id="33" name="Google Shape;666;p24">
              <a:extLst>
                <a:ext uri="{FF2B5EF4-FFF2-40B4-BE49-F238E27FC236}">
                  <a16:creationId xmlns:a16="http://schemas.microsoft.com/office/drawing/2014/main" id="{9F32AE9C-92F8-56AA-B1C0-098923752DC3}"/>
                </a:ext>
              </a:extLst>
            </p:cNvPr>
            <p:cNvCxnSpPr/>
            <p:nvPr/>
          </p:nvCxnSpPr>
          <p:spPr>
            <a:xfrm rot="10800000" flipH="1">
              <a:off x="80803" y="6716"/>
              <a:ext cx="345661" cy="856890"/>
            </a:xfrm>
            <a:prstGeom prst="straightConnector1">
              <a:avLst/>
            </a:prstGeom>
            <a:noFill/>
            <a:ln w="25400" cap="flat" cmpd="sng">
              <a:solidFill>
                <a:srgbClr val="2E5BCE"/>
              </a:solidFill>
              <a:prstDash val="dashDot"/>
              <a:miter lim="400000"/>
              <a:headEnd type="oval" w="med" len="med"/>
              <a:tailEnd type="none" w="sm" len="sm"/>
            </a:ln>
          </p:spPr>
        </p:cxnSp>
        <p:sp>
          <p:nvSpPr>
            <p:cNvPr id="34" name="Google Shape;667;p24">
              <a:extLst>
                <a:ext uri="{FF2B5EF4-FFF2-40B4-BE49-F238E27FC236}">
                  <a16:creationId xmlns:a16="http://schemas.microsoft.com/office/drawing/2014/main" id="{BD9744DB-1E95-E7BF-83F4-26CA85565095}"/>
                </a:ext>
              </a:extLst>
            </p:cNvPr>
            <p:cNvSpPr/>
            <p:nvPr/>
          </p:nvSpPr>
          <p:spPr>
            <a:xfrm>
              <a:off x="0" y="769434"/>
              <a:ext cx="168123" cy="168123"/>
            </a:xfrm>
            <a:prstGeom prst="ellipse">
              <a:avLst/>
            </a:prstGeom>
            <a:noFill/>
            <a:ln w="254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34275" tIns="34275" rIns="34275" bIns="3427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35" name="Google Shape;668;p24">
            <a:extLst>
              <a:ext uri="{FF2B5EF4-FFF2-40B4-BE49-F238E27FC236}">
                <a16:creationId xmlns:a16="http://schemas.microsoft.com/office/drawing/2014/main" id="{8B664F43-F723-B5F0-8CC8-79029E5A0101}"/>
              </a:ext>
            </a:extLst>
          </p:cNvPr>
          <p:cNvGrpSpPr/>
          <p:nvPr/>
        </p:nvGrpSpPr>
        <p:grpSpPr>
          <a:xfrm>
            <a:off x="1827396" y="2247766"/>
            <a:ext cx="478336" cy="415260"/>
            <a:chOff x="0" y="115782"/>
            <a:chExt cx="599471" cy="589360"/>
          </a:xfrm>
        </p:grpSpPr>
        <p:cxnSp>
          <p:nvCxnSpPr>
            <p:cNvPr id="36" name="Google Shape;669;p24">
              <a:extLst>
                <a:ext uri="{FF2B5EF4-FFF2-40B4-BE49-F238E27FC236}">
                  <a16:creationId xmlns:a16="http://schemas.microsoft.com/office/drawing/2014/main" id="{973568E3-3D3D-0D63-70F8-B1DA5ED62551}"/>
                </a:ext>
              </a:extLst>
            </p:cNvPr>
            <p:cNvCxnSpPr/>
            <p:nvPr/>
          </p:nvCxnSpPr>
          <p:spPr>
            <a:xfrm rot="10800000" flipH="1">
              <a:off x="73168" y="115782"/>
              <a:ext cx="526303" cy="512903"/>
            </a:xfrm>
            <a:prstGeom prst="straightConnector1">
              <a:avLst/>
            </a:prstGeom>
            <a:noFill/>
            <a:ln w="25400" cap="flat" cmpd="sng">
              <a:solidFill>
                <a:srgbClr val="6BB969"/>
              </a:solidFill>
              <a:prstDash val="dashDot"/>
              <a:miter lim="400000"/>
              <a:headEnd type="oval" w="med" len="med"/>
              <a:tailEnd type="none" w="sm" len="sm"/>
            </a:ln>
          </p:spPr>
        </p:cxnSp>
        <p:sp>
          <p:nvSpPr>
            <p:cNvPr id="37" name="Google Shape;670;p24">
              <a:extLst>
                <a:ext uri="{FF2B5EF4-FFF2-40B4-BE49-F238E27FC236}">
                  <a16:creationId xmlns:a16="http://schemas.microsoft.com/office/drawing/2014/main" id="{E434C3C7-00B2-64CA-51DB-0611EEB7F303}"/>
                </a:ext>
              </a:extLst>
            </p:cNvPr>
            <p:cNvSpPr/>
            <p:nvPr/>
          </p:nvSpPr>
          <p:spPr>
            <a:xfrm>
              <a:off x="0" y="537018"/>
              <a:ext cx="168123" cy="168124"/>
            </a:xfrm>
            <a:prstGeom prst="ellipse">
              <a:avLst/>
            </a:prstGeom>
            <a:noFill/>
            <a:ln w="25400" cap="flat" cmpd="sng">
              <a:solidFill>
                <a:srgbClr val="6BB969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34275" tIns="34275" rIns="34275" bIns="3427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38" name="Google Shape;671;p24">
            <a:extLst>
              <a:ext uri="{FF2B5EF4-FFF2-40B4-BE49-F238E27FC236}">
                <a16:creationId xmlns:a16="http://schemas.microsoft.com/office/drawing/2014/main" id="{1D8D8575-A216-298A-06B4-CD7F05F24E31}"/>
              </a:ext>
            </a:extLst>
          </p:cNvPr>
          <p:cNvGrpSpPr/>
          <p:nvPr/>
        </p:nvGrpSpPr>
        <p:grpSpPr>
          <a:xfrm>
            <a:off x="2028382" y="2945158"/>
            <a:ext cx="491354" cy="126095"/>
            <a:chOff x="0" y="124876"/>
            <a:chExt cx="655136" cy="168124"/>
          </a:xfrm>
        </p:grpSpPr>
        <p:cxnSp>
          <p:nvCxnSpPr>
            <p:cNvPr id="39" name="Google Shape;672;p24">
              <a:extLst>
                <a:ext uri="{FF2B5EF4-FFF2-40B4-BE49-F238E27FC236}">
                  <a16:creationId xmlns:a16="http://schemas.microsoft.com/office/drawing/2014/main" id="{46CC27F2-4EB4-04B5-A7E8-BFF0597FC9A8}"/>
                </a:ext>
              </a:extLst>
            </p:cNvPr>
            <p:cNvCxnSpPr/>
            <p:nvPr/>
          </p:nvCxnSpPr>
          <p:spPr>
            <a:xfrm>
              <a:off x="70177" y="207193"/>
              <a:ext cx="584959" cy="1"/>
            </a:xfrm>
            <a:prstGeom prst="straightConnector1">
              <a:avLst/>
            </a:prstGeom>
            <a:noFill/>
            <a:ln w="25400" cap="flat" cmpd="sng">
              <a:solidFill>
                <a:srgbClr val="FFCF16"/>
              </a:solidFill>
              <a:prstDash val="dashDot"/>
              <a:miter lim="400000"/>
              <a:headEnd type="oval" w="med" len="med"/>
              <a:tailEnd type="none" w="sm" len="sm"/>
            </a:ln>
          </p:spPr>
        </p:cxnSp>
        <p:sp>
          <p:nvSpPr>
            <p:cNvPr id="40" name="Google Shape;673;p24">
              <a:extLst>
                <a:ext uri="{FF2B5EF4-FFF2-40B4-BE49-F238E27FC236}">
                  <a16:creationId xmlns:a16="http://schemas.microsoft.com/office/drawing/2014/main" id="{7397532D-E221-7D4E-7C16-139E73D89D30}"/>
                </a:ext>
              </a:extLst>
            </p:cNvPr>
            <p:cNvSpPr/>
            <p:nvPr/>
          </p:nvSpPr>
          <p:spPr>
            <a:xfrm>
              <a:off x="0" y="124876"/>
              <a:ext cx="168123" cy="168124"/>
            </a:xfrm>
            <a:prstGeom prst="ellipse">
              <a:avLst/>
            </a:prstGeom>
            <a:noFill/>
            <a:ln w="25400" cap="flat" cmpd="sng">
              <a:solidFill>
                <a:srgbClr val="FFCF16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34275" tIns="34275" rIns="34275" bIns="3427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41" name="Google Shape;674;p24">
            <a:extLst>
              <a:ext uri="{FF2B5EF4-FFF2-40B4-BE49-F238E27FC236}">
                <a16:creationId xmlns:a16="http://schemas.microsoft.com/office/drawing/2014/main" id="{6BDC670E-0BA9-6BAC-776A-CDFB5A13C759}"/>
              </a:ext>
            </a:extLst>
          </p:cNvPr>
          <p:cNvGrpSpPr/>
          <p:nvPr/>
        </p:nvGrpSpPr>
        <p:grpSpPr>
          <a:xfrm>
            <a:off x="1840261" y="3378762"/>
            <a:ext cx="593402" cy="663936"/>
            <a:chOff x="57760" y="0"/>
            <a:chExt cx="574015" cy="571347"/>
          </a:xfrm>
        </p:grpSpPr>
        <p:cxnSp>
          <p:nvCxnSpPr>
            <p:cNvPr id="42" name="Google Shape;675;p24">
              <a:extLst>
                <a:ext uri="{FF2B5EF4-FFF2-40B4-BE49-F238E27FC236}">
                  <a16:creationId xmlns:a16="http://schemas.microsoft.com/office/drawing/2014/main" id="{8FF5085A-5531-8BC9-FEBB-F245C2441B22}"/>
                </a:ext>
              </a:extLst>
            </p:cNvPr>
            <p:cNvCxnSpPr/>
            <p:nvPr/>
          </p:nvCxnSpPr>
          <p:spPr>
            <a:xfrm>
              <a:off x="135432" y="72694"/>
              <a:ext cx="496343" cy="498653"/>
            </a:xfrm>
            <a:prstGeom prst="straightConnector1">
              <a:avLst/>
            </a:prstGeom>
            <a:noFill/>
            <a:ln w="25400" cap="flat" cmpd="sng">
              <a:solidFill>
                <a:srgbClr val="DB9235"/>
              </a:solidFill>
              <a:prstDash val="dashDot"/>
              <a:miter lim="400000"/>
              <a:headEnd type="oval" w="med" len="med"/>
              <a:tailEnd type="none" w="sm" len="sm"/>
            </a:ln>
          </p:spPr>
        </p:cxnSp>
        <p:sp>
          <p:nvSpPr>
            <p:cNvPr id="43" name="Google Shape;676;p24">
              <a:extLst>
                <a:ext uri="{FF2B5EF4-FFF2-40B4-BE49-F238E27FC236}">
                  <a16:creationId xmlns:a16="http://schemas.microsoft.com/office/drawing/2014/main" id="{C4B689BD-D040-A457-B479-4B6CF291740E}"/>
                </a:ext>
              </a:extLst>
            </p:cNvPr>
            <p:cNvSpPr/>
            <p:nvPr/>
          </p:nvSpPr>
          <p:spPr>
            <a:xfrm>
              <a:off x="57760" y="0"/>
              <a:ext cx="168124" cy="168123"/>
            </a:xfrm>
            <a:prstGeom prst="ellipse">
              <a:avLst/>
            </a:prstGeom>
            <a:noFill/>
            <a:ln w="25400" cap="flat" cmpd="sng">
              <a:solidFill>
                <a:srgbClr val="DB913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34275" tIns="34275" rIns="34275" bIns="3427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cxnSp>
        <p:nvCxnSpPr>
          <p:cNvPr id="45" name="Google Shape;678;p24">
            <a:extLst>
              <a:ext uri="{FF2B5EF4-FFF2-40B4-BE49-F238E27FC236}">
                <a16:creationId xmlns:a16="http://schemas.microsoft.com/office/drawing/2014/main" id="{F52686BD-3C6D-F3FB-F8A3-98BD1A144CF0}"/>
              </a:ext>
            </a:extLst>
          </p:cNvPr>
          <p:cNvCxnSpPr>
            <a:cxnSpLocks/>
          </p:cNvCxnSpPr>
          <p:nvPr/>
        </p:nvCxnSpPr>
        <p:spPr>
          <a:xfrm>
            <a:off x="1652868" y="3804061"/>
            <a:ext cx="573707" cy="1051050"/>
          </a:xfrm>
          <a:prstGeom prst="straightConnector1">
            <a:avLst/>
          </a:prstGeom>
          <a:noFill/>
          <a:ln w="25400" cap="flat" cmpd="sng">
            <a:solidFill>
              <a:srgbClr val="D94438"/>
            </a:solidFill>
            <a:prstDash val="dashDot"/>
            <a:miter lim="400000"/>
            <a:headEnd type="oval" w="med" len="med"/>
            <a:tailEnd type="none" w="sm" len="sm"/>
          </a:ln>
        </p:spPr>
      </p:cxnSp>
      <p:sp>
        <p:nvSpPr>
          <p:cNvPr id="47" name="Google Shape;680;p24">
            <a:extLst>
              <a:ext uri="{FF2B5EF4-FFF2-40B4-BE49-F238E27FC236}">
                <a16:creationId xmlns:a16="http://schemas.microsoft.com/office/drawing/2014/main" id="{E8B04330-5F19-10BE-EB85-81D3FED34DAA}"/>
              </a:ext>
            </a:extLst>
          </p:cNvPr>
          <p:cNvSpPr txBox="1"/>
          <p:nvPr/>
        </p:nvSpPr>
        <p:spPr>
          <a:xfrm>
            <a:off x="265629" y="2687132"/>
            <a:ext cx="1741263" cy="3075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PERSYARATAN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sp>
        <p:nvSpPr>
          <p:cNvPr id="48" name="Google Shape;681;p24">
            <a:extLst>
              <a:ext uri="{FF2B5EF4-FFF2-40B4-BE49-F238E27FC236}">
                <a16:creationId xmlns:a16="http://schemas.microsoft.com/office/drawing/2014/main" id="{92693EA7-CF2D-791A-191D-CE96B0BA45EA}"/>
              </a:ext>
            </a:extLst>
          </p:cNvPr>
          <p:cNvSpPr txBox="1"/>
          <p:nvPr/>
        </p:nvSpPr>
        <p:spPr>
          <a:xfrm>
            <a:off x="616132" y="2889229"/>
            <a:ext cx="1095651" cy="348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LISENSI LSBU</a:t>
            </a:r>
            <a:endParaRPr kumimoji="0" sz="28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sp>
        <p:nvSpPr>
          <p:cNvPr id="50" name="Google Shape;683;p24">
            <a:extLst>
              <a:ext uri="{FF2B5EF4-FFF2-40B4-BE49-F238E27FC236}">
                <a16:creationId xmlns:a16="http://schemas.microsoft.com/office/drawing/2014/main" id="{61880390-D859-CFBB-95CD-EF4D75FD04F6}"/>
              </a:ext>
            </a:extLst>
          </p:cNvPr>
          <p:cNvSpPr txBox="1"/>
          <p:nvPr/>
        </p:nvSpPr>
        <p:spPr>
          <a:xfrm>
            <a:off x="2707513" y="1166337"/>
            <a:ext cx="394160" cy="392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Impact"/>
                <a:ea typeface="Impact"/>
                <a:cs typeface="Impact"/>
                <a:sym typeface="Impact"/>
              </a:rPr>
              <a:t>01</a:t>
            </a:r>
            <a:endParaRPr kumimoji="0" sz="135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" name="Google Shape;684;p24">
            <a:extLst>
              <a:ext uri="{FF2B5EF4-FFF2-40B4-BE49-F238E27FC236}">
                <a16:creationId xmlns:a16="http://schemas.microsoft.com/office/drawing/2014/main" id="{2F2FD582-8497-D675-C4EE-091F27D13AA6}"/>
              </a:ext>
            </a:extLst>
          </p:cNvPr>
          <p:cNvSpPr txBox="1"/>
          <p:nvPr/>
        </p:nvSpPr>
        <p:spPr>
          <a:xfrm>
            <a:off x="3182484" y="1149614"/>
            <a:ext cx="1181255" cy="2034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Surat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Permohonan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sp>
        <p:nvSpPr>
          <p:cNvPr id="53" name="Google Shape;686;p24">
            <a:extLst>
              <a:ext uri="{FF2B5EF4-FFF2-40B4-BE49-F238E27FC236}">
                <a16:creationId xmlns:a16="http://schemas.microsoft.com/office/drawing/2014/main" id="{2BA89567-FE16-11B9-2A60-A04A096B12E7}"/>
              </a:ext>
            </a:extLst>
          </p:cNvPr>
          <p:cNvSpPr txBox="1"/>
          <p:nvPr/>
        </p:nvSpPr>
        <p:spPr>
          <a:xfrm>
            <a:off x="3222258" y="2103107"/>
            <a:ext cx="394160" cy="392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Impact"/>
                <a:ea typeface="Impact"/>
                <a:cs typeface="Impact"/>
                <a:sym typeface="Impact"/>
              </a:rPr>
              <a:t>02</a:t>
            </a:r>
            <a:endParaRPr kumimoji="0" sz="135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" name="Google Shape;687;p24">
            <a:extLst>
              <a:ext uri="{FF2B5EF4-FFF2-40B4-BE49-F238E27FC236}">
                <a16:creationId xmlns:a16="http://schemas.microsoft.com/office/drawing/2014/main" id="{C283922E-EAF2-708A-8250-3D61CEFC4D22}"/>
              </a:ext>
            </a:extLst>
          </p:cNvPr>
          <p:cNvSpPr txBox="1"/>
          <p:nvPr/>
        </p:nvSpPr>
        <p:spPr>
          <a:xfrm>
            <a:off x="3646853" y="1985874"/>
            <a:ext cx="1784879" cy="3888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Kelengkapa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aspek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 legal dan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kelengkapa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administrasi</a:t>
            </a:r>
            <a:endParaRPr kumimoji="0" sz="105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sp>
        <p:nvSpPr>
          <p:cNvPr id="57" name="Google Shape;690;p24">
            <a:extLst>
              <a:ext uri="{FF2B5EF4-FFF2-40B4-BE49-F238E27FC236}">
                <a16:creationId xmlns:a16="http://schemas.microsoft.com/office/drawing/2014/main" id="{D85D408E-1491-E475-2721-EAFA22BD419B}"/>
              </a:ext>
            </a:extLst>
          </p:cNvPr>
          <p:cNvSpPr txBox="1"/>
          <p:nvPr/>
        </p:nvSpPr>
        <p:spPr>
          <a:xfrm>
            <a:off x="3300624" y="2930904"/>
            <a:ext cx="394160" cy="392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Impact"/>
                <a:ea typeface="Impact"/>
                <a:cs typeface="Impact"/>
                <a:sym typeface="Impact"/>
              </a:rPr>
              <a:t>03</a:t>
            </a:r>
            <a:endParaRPr kumimoji="0" sz="135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" name="Google Shape;691;p24">
            <a:extLst>
              <a:ext uri="{FF2B5EF4-FFF2-40B4-BE49-F238E27FC236}">
                <a16:creationId xmlns:a16="http://schemas.microsoft.com/office/drawing/2014/main" id="{95726868-AAB6-6823-AAB6-B5366D9B0623}"/>
              </a:ext>
            </a:extLst>
          </p:cNvPr>
          <p:cNvSpPr txBox="1"/>
          <p:nvPr/>
        </p:nvSpPr>
        <p:spPr>
          <a:xfrm>
            <a:off x="3640780" y="2820344"/>
            <a:ext cx="1790952" cy="3164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Alat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kelengkapa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 (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Prasarana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 dan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sarana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pendukung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kegiata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)</a:t>
            </a:r>
            <a:endParaRPr kumimoji="0" sz="105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sp>
        <p:nvSpPr>
          <p:cNvPr id="60" name="Google Shape;693;p24">
            <a:extLst>
              <a:ext uri="{FF2B5EF4-FFF2-40B4-BE49-F238E27FC236}">
                <a16:creationId xmlns:a16="http://schemas.microsoft.com/office/drawing/2014/main" id="{3A006EDC-C8EB-ACFD-A214-69F594950CEF}"/>
              </a:ext>
            </a:extLst>
          </p:cNvPr>
          <p:cNvSpPr txBox="1"/>
          <p:nvPr/>
        </p:nvSpPr>
        <p:spPr>
          <a:xfrm>
            <a:off x="3334416" y="3792308"/>
            <a:ext cx="394160" cy="392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Impact"/>
                <a:ea typeface="Impact"/>
                <a:cs typeface="Impact"/>
                <a:sym typeface="Impact"/>
              </a:rPr>
              <a:t>04</a:t>
            </a:r>
            <a:endParaRPr kumimoji="0" sz="135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" name="Google Shape;694;p24">
            <a:extLst>
              <a:ext uri="{FF2B5EF4-FFF2-40B4-BE49-F238E27FC236}">
                <a16:creationId xmlns:a16="http://schemas.microsoft.com/office/drawing/2014/main" id="{F0D9F25D-D5CE-81A0-60B5-8481D9BA75BD}"/>
              </a:ext>
            </a:extLst>
          </p:cNvPr>
          <p:cNvSpPr txBox="1"/>
          <p:nvPr/>
        </p:nvSpPr>
        <p:spPr>
          <a:xfrm>
            <a:off x="3497704" y="3846532"/>
            <a:ext cx="2042627" cy="455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Rencana</a:t>
            </a:r>
            <a:r>
              <a:rPr lang="en-US" sz="105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kegiatan</a:t>
            </a:r>
            <a:endParaRPr kumimoji="0" sz="105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sp>
        <p:nvSpPr>
          <p:cNvPr id="63" name="Google Shape;696;p24">
            <a:extLst>
              <a:ext uri="{FF2B5EF4-FFF2-40B4-BE49-F238E27FC236}">
                <a16:creationId xmlns:a16="http://schemas.microsoft.com/office/drawing/2014/main" id="{BA4FEAEF-89F5-7DFD-52E3-DD8B9B046745}"/>
              </a:ext>
            </a:extLst>
          </p:cNvPr>
          <p:cNvSpPr txBox="1"/>
          <p:nvPr/>
        </p:nvSpPr>
        <p:spPr>
          <a:xfrm>
            <a:off x="3108054" y="4688753"/>
            <a:ext cx="394160" cy="392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Impact"/>
                <a:ea typeface="Impact"/>
                <a:cs typeface="Impact"/>
                <a:sym typeface="Impact"/>
              </a:rPr>
              <a:t>05</a:t>
            </a:r>
            <a:endParaRPr kumimoji="0" sz="135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" name="Google Shape;697;p24">
            <a:extLst>
              <a:ext uri="{FF2B5EF4-FFF2-40B4-BE49-F238E27FC236}">
                <a16:creationId xmlns:a16="http://schemas.microsoft.com/office/drawing/2014/main" id="{EE75CAD6-E098-2E64-46D3-EABAC61D682D}"/>
              </a:ext>
            </a:extLst>
          </p:cNvPr>
          <p:cNvSpPr txBox="1"/>
          <p:nvPr/>
        </p:nvSpPr>
        <p:spPr>
          <a:xfrm>
            <a:off x="3418979" y="4576524"/>
            <a:ext cx="2069798" cy="607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Skema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Sertifikasi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,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Pedoma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Manajeme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 LSBU, dan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Perangkat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Asesmen</a:t>
            </a:r>
            <a:endParaRPr kumimoji="0" sz="105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grpSp>
        <p:nvGrpSpPr>
          <p:cNvPr id="68" name="Google Shape;701;p24">
            <a:extLst>
              <a:ext uri="{FF2B5EF4-FFF2-40B4-BE49-F238E27FC236}">
                <a16:creationId xmlns:a16="http://schemas.microsoft.com/office/drawing/2014/main" id="{5DC929FB-3A03-9D70-234B-D05CDFDCC1E4}"/>
              </a:ext>
            </a:extLst>
          </p:cNvPr>
          <p:cNvGrpSpPr/>
          <p:nvPr/>
        </p:nvGrpSpPr>
        <p:grpSpPr>
          <a:xfrm>
            <a:off x="1217915" y="3790860"/>
            <a:ext cx="568858" cy="1955875"/>
            <a:chOff x="227036" y="-10276"/>
            <a:chExt cx="215686" cy="1205155"/>
          </a:xfrm>
        </p:grpSpPr>
        <p:cxnSp>
          <p:nvCxnSpPr>
            <p:cNvPr id="69" name="Google Shape;702;p24">
              <a:extLst>
                <a:ext uri="{FF2B5EF4-FFF2-40B4-BE49-F238E27FC236}">
                  <a16:creationId xmlns:a16="http://schemas.microsoft.com/office/drawing/2014/main" id="{B8B42452-2B41-9CA2-3615-D140E7B7BCAB}"/>
                </a:ext>
              </a:extLst>
            </p:cNvPr>
            <p:cNvCxnSpPr>
              <a:cxnSpLocks/>
            </p:cNvCxnSpPr>
            <p:nvPr/>
          </p:nvCxnSpPr>
          <p:spPr>
            <a:xfrm>
              <a:off x="275698" y="69344"/>
              <a:ext cx="167024" cy="1125535"/>
            </a:xfrm>
            <a:prstGeom prst="straightConnector1">
              <a:avLst/>
            </a:prstGeom>
            <a:noFill/>
            <a:ln w="25400" cap="flat" cmpd="sng">
              <a:solidFill>
                <a:srgbClr val="92D050"/>
              </a:solidFill>
              <a:prstDash val="dashDot"/>
              <a:miter lim="400000"/>
              <a:headEnd type="oval" w="med" len="med"/>
              <a:tailEnd type="none" w="sm" len="sm"/>
            </a:ln>
          </p:spPr>
        </p:cxnSp>
        <p:sp>
          <p:nvSpPr>
            <p:cNvPr id="70" name="Google Shape;703;p24">
              <a:extLst>
                <a:ext uri="{FF2B5EF4-FFF2-40B4-BE49-F238E27FC236}">
                  <a16:creationId xmlns:a16="http://schemas.microsoft.com/office/drawing/2014/main" id="{83E17DBA-A613-443E-A91D-9C90486270A9}"/>
                </a:ext>
              </a:extLst>
            </p:cNvPr>
            <p:cNvSpPr/>
            <p:nvPr/>
          </p:nvSpPr>
          <p:spPr>
            <a:xfrm>
              <a:off x="227036" y="-10276"/>
              <a:ext cx="94647" cy="170207"/>
            </a:xfrm>
            <a:prstGeom prst="ellipse">
              <a:avLst/>
            </a:prstGeom>
            <a:solidFill>
              <a:srgbClr val="92D050"/>
            </a:solidFill>
            <a:ln w="25400" cap="flat" cmpd="sng">
              <a:noFill/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34275" tIns="34275" rIns="34275" bIns="3427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1" name="Google Shape;704;p24">
            <a:extLst>
              <a:ext uri="{FF2B5EF4-FFF2-40B4-BE49-F238E27FC236}">
                <a16:creationId xmlns:a16="http://schemas.microsoft.com/office/drawing/2014/main" id="{D9B4459B-6F03-38EA-7B06-C3F4815B469A}"/>
              </a:ext>
            </a:extLst>
          </p:cNvPr>
          <p:cNvSpPr txBox="1"/>
          <p:nvPr/>
        </p:nvSpPr>
        <p:spPr>
          <a:xfrm>
            <a:off x="2699539" y="5578058"/>
            <a:ext cx="394160" cy="392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Impact"/>
                <a:ea typeface="Impact"/>
                <a:cs typeface="Impact"/>
                <a:sym typeface="Impact"/>
              </a:rPr>
              <a:t>06</a:t>
            </a:r>
            <a:endParaRPr kumimoji="0" sz="135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" name="Google Shape;706;p24">
            <a:extLst>
              <a:ext uri="{FF2B5EF4-FFF2-40B4-BE49-F238E27FC236}">
                <a16:creationId xmlns:a16="http://schemas.microsoft.com/office/drawing/2014/main" id="{FD6E6B1B-4940-61A5-EE4A-E271988155C9}"/>
              </a:ext>
            </a:extLst>
          </p:cNvPr>
          <p:cNvSpPr txBox="1"/>
          <p:nvPr/>
        </p:nvSpPr>
        <p:spPr>
          <a:xfrm>
            <a:off x="3167081" y="5470829"/>
            <a:ext cx="1429871" cy="2036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34275" rIns="34275" bIns="3427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Standar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Penilaia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Kemampua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 badan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venir"/>
              </a:rPr>
              <a:t>usaha</a:t>
            </a:r>
            <a:endParaRPr kumimoji="0" sz="105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sp>
        <p:nvSpPr>
          <p:cNvPr id="74" name="Google Shape;707;p24">
            <a:extLst>
              <a:ext uri="{FF2B5EF4-FFF2-40B4-BE49-F238E27FC236}">
                <a16:creationId xmlns:a16="http://schemas.microsoft.com/office/drawing/2014/main" id="{CCEE568B-2413-5B87-E2D5-F729AC47D379}"/>
              </a:ext>
            </a:extLst>
          </p:cNvPr>
          <p:cNvSpPr/>
          <p:nvPr/>
        </p:nvSpPr>
        <p:spPr>
          <a:xfrm>
            <a:off x="5809981" y="3731728"/>
            <a:ext cx="5908776" cy="41545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Mencerminkan Pelayanan Yang Diberikan Kepada Industri Dan Sekaligus Sebagai Penghasilan Untuk Pendanaan Organisasi;</a:t>
            </a:r>
            <a:endParaRPr kumimoji="0" lang="sv-SE" sz="105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5" name="Google Shape;708;p24">
            <a:extLst>
              <a:ext uri="{FF2B5EF4-FFF2-40B4-BE49-F238E27FC236}">
                <a16:creationId xmlns:a16="http://schemas.microsoft.com/office/drawing/2014/main" id="{07FB72F2-5000-5A87-293A-0C70A01BB53D}"/>
              </a:ext>
            </a:extLst>
          </p:cNvPr>
          <p:cNvSpPr/>
          <p:nvPr/>
        </p:nvSpPr>
        <p:spPr>
          <a:xfrm>
            <a:off x="5809980" y="1779239"/>
            <a:ext cx="5908777" cy="90020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36934" marR="0" lvl="4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825"/>
              <a:buFont typeface="+mj-lt"/>
              <a:buAutoNum type="arabicPeriod"/>
              <a:tabLst/>
              <a:defRPr/>
            </a:pPr>
            <a:r>
              <a:rPr kumimoji="0" lang="sv-SE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Surat Pengesahan Badan Hukum</a:t>
            </a:r>
          </a:p>
          <a:p>
            <a:pPr marL="236934" marR="0" lvl="4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825"/>
              <a:buFont typeface="+mj-lt"/>
              <a:buAutoNum type="arabicPeriod"/>
              <a:tabLst/>
              <a:defRPr/>
            </a:pPr>
            <a:r>
              <a:rPr kumimoji="0" lang="sv-SE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Surat Penetapan Kepengurusan</a:t>
            </a:r>
          </a:p>
          <a:p>
            <a:pPr marL="236934" marR="0" lvl="4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825"/>
              <a:buFont typeface="+mj-lt"/>
              <a:buAutoNum type="arabicPeriod"/>
              <a:tabLst/>
              <a:defRPr/>
            </a:pPr>
            <a:r>
              <a:rPr kumimoji="0" lang="sv-SE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NPWP Atas Nama LSBU</a:t>
            </a:r>
          </a:p>
          <a:p>
            <a:pPr marL="236934" marR="0" lvl="4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825"/>
              <a:buFont typeface="+mj-lt"/>
              <a:buAutoNum type="arabicPeriod"/>
              <a:tabLst/>
              <a:defRPr/>
            </a:pPr>
            <a:r>
              <a:rPr kumimoji="0" lang="sv-SE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Surat Pernyataan Tidak Dalam Sengketa Kepengurusan</a:t>
            </a:r>
          </a:p>
          <a:p>
            <a:pPr marL="236934" marR="0" lvl="4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825"/>
              <a:buFont typeface="+mj-lt"/>
              <a:buAutoNum type="arabicPeriod"/>
              <a:tabLst/>
              <a:defRPr/>
            </a:pPr>
            <a:r>
              <a:rPr kumimoji="0" lang="sv-SE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Surat Pernyataan Kebenaran Isi Data Dan Informasi Dokumen/Berkas</a:t>
            </a:r>
          </a:p>
        </p:txBody>
      </p:sp>
      <p:sp>
        <p:nvSpPr>
          <p:cNvPr id="76" name="Google Shape;709;p24">
            <a:extLst>
              <a:ext uri="{FF2B5EF4-FFF2-40B4-BE49-F238E27FC236}">
                <a16:creationId xmlns:a16="http://schemas.microsoft.com/office/drawing/2014/main" id="{B879E131-1E63-562F-AFB9-73AA14810D61}"/>
              </a:ext>
            </a:extLst>
          </p:cNvPr>
          <p:cNvSpPr txBox="1"/>
          <p:nvPr/>
        </p:nvSpPr>
        <p:spPr>
          <a:xfrm>
            <a:off x="5809980" y="2800018"/>
            <a:ext cx="5908778" cy="72246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64319" marR="0" lvl="4" indent="-228600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900"/>
              <a:buFont typeface="+mj-lt"/>
              <a:buAutoNum type="arabicPeriod"/>
              <a:tabLst/>
              <a:defRPr/>
            </a:pP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Kepemilika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Kantor Dan Foto Kantor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Tampak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Depa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Yang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Memuat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Papa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Nama;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4319" marR="0" lvl="4" indent="-228600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900"/>
              <a:buFont typeface="+mj-lt"/>
              <a:buAutoNum type="arabicPeriod"/>
              <a:tabLst/>
              <a:defRPr/>
            </a:pP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Kepemilika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Sistem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Pengolaha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Data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Berbasis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Teknologi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Informasi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; Dan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4319" marR="0" lvl="4" indent="-228600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900"/>
              <a:buFont typeface="+mj-lt"/>
              <a:buAutoNum type="arabicPeriod"/>
              <a:tabLst/>
              <a:defRPr/>
            </a:pP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Personil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Yang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Kompete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Termasuk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Asesor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Badan Usaha.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3" name="Google Shape;710;p24">
            <a:extLst>
              <a:ext uri="{FF2B5EF4-FFF2-40B4-BE49-F238E27FC236}">
                <a16:creationId xmlns:a16="http://schemas.microsoft.com/office/drawing/2014/main" id="{0F907870-816B-9BEA-CC03-483C78D8F361}"/>
              </a:ext>
            </a:extLst>
          </p:cNvPr>
          <p:cNvSpPr/>
          <p:nvPr/>
        </p:nvSpPr>
        <p:spPr>
          <a:xfrm>
            <a:off x="5809980" y="4514969"/>
            <a:ext cx="5908775" cy="7386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Pedoma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Manajeme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LSBU Antara Lain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Dokumentasi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Sistem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Manajame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Umum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Berupa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Panduan,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Kebijaka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,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Tugas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Pokok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, Dan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Fungsi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LSBU;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Pengendalia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Dokume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;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Pengendalia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Rekama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;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Tinjaua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Manajeme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; Audit Internal; Tindakan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Korektif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; Dan Tindakan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Pencegaha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. </a:t>
            </a:r>
          </a:p>
        </p:txBody>
      </p:sp>
      <p:sp>
        <p:nvSpPr>
          <p:cNvPr id="84" name="Google Shape;711;p24">
            <a:extLst>
              <a:ext uri="{FF2B5EF4-FFF2-40B4-BE49-F238E27FC236}">
                <a16:creationId xmlns:a16="http://schemas.microsoft.com/office/drawing/2014/main" id="{2AF8563E-B423-B31F-644B-DBDFCA7BD7CB}"/>
              </a:ext>
            </a:extLst>
          </p:cNvPr>
          <p:cNvSpPr/>
          <p:nvPr/>
        </p:nvSpPr>
        <p:spPr>
          <a:xfrm>
            <a:off x="8312797" y="5256581"/>
            <a:ext cx="3839742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174A9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Pasal</a:t>
            </a: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174A9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 41L dan 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174A9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Penjelasan</a:t>
            </a:r>
            <a:endParaRPr kumimoji="0" sz="1800" b="0" i="1" u="none" strike="noStrike" kern="1200" cap="none" spc="0" normalizeH="0" baseline="0" noProof="0" dirty="0">
              <a:ln>
                <a:noFill/>
              </a:ln>
              <a:solidFill>
                <a:srgbClr val="174A9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sp>
        <p:nvSpPr>
          <p:cNvPr id="85" name="Google Shape;703;p24">
            <a:extLst>
              <a:ext uri="{FF2B5EF4-FFF2-40B4-BE49-F238E27FC236}">
                <a16:creationId xmlns:a16="http://schemas.microsoft.com/office/drawing/2014/main" id="{0F4A1092-23CB-ABEB-6DB8-1A395BB17126}"/>
              </a:ext>
            </a:extLst>
          </p:cNvPr>
          <p:cNvSpPr/>
          <p:nvPr/>
        </p:nvSpPr>
        <p:spPr>
          <a:xfrm>
            <a:off x="1540588" y="3648074"/>
            <a:ext cx="249626" cy="276233"/>
          </a:xfrm>
          <a:prstGeom prst="ellipse">
            <a:avLst/>
          </a:prstGeom>
          <a:solidFill>
            <a:srgbClr val="FF0000"/>
          </a:solidFill>
          <a:ln w="254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34275" tIns="34275" rIns="34275" bIns="3427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" name="Google Shape;703;p24">
            <a:extLst>
              <a:ext uri="{FF2B5EF4-FFF2-40B4-BE49-F238E27FC236}">
                <a16:creationId xmlns:a16="http://schemas.microsoft.com/office/drawing/2014/main" id="{4755B6CD-B906-5C11-91A4-7BD42AFACA32}"/>
              </a:ext>
            </a:extLst>
          </p:cNvPr>
          <p:cNvSpPr/>
          <p:nvPr/>
        </p:nvSpPr>
        <p:spPr>
          <a:xfrm>
            <a:off x="1805348" y="3323277"/>
            <a:ext cx="249626" cy="276233"/>
          </a:xfrm>
          <a:prstGeom prst="ellipse">
            <a:avLst/>
          </a:prstGeom>
          <a:solidFill>
            <a:srgbClr val="FFC000"/>
          </a:solidFill>
          <a:ln w="254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34275" tIns="34275" rIns="34275" bIns="3427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" name="Google Shape;703;p24">
            <a:extLst>
              <a:ext uri="{FF2B5EF4-FFF2-40B4-BE49-F238E27FC236}">
                <a16:creationId xmlns:a16="http://schemas.microsoft.com/office/drawing/2014/main" id="{0E76875F-7B31-A3DE-76A1-F901A31734A9}"/>
              </a:ext>
            </a:extLst>
          </p:cNvPr>
          <p:cNvSpPr/>
          <p:nvPr/>
        </p:nvSpPr>
        <p:spPr>
          <a:xfrm>
            <a:off x="1955384" y="2865843"/>
            <a:ext cx="249626" cy="276233"/>
          </a:xfrm>
          <a:prstGeom prst="ellipse">
            <a:avLst/>
          </a:prstGeom>
          <a:solidFill>
            <a:srgbClr val="FFFF00"/>
          </a:solidFill>
          <a:ln w="254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34275" tIns="34275" rIns="34275" bIns="3427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" name="Google Shape;703;p24">
            <a:extLst>
              <a:ext uri="{FF2B5EF4-FFF2-40B4-BE49-F238E27FC236}">
                <a16:creationId xmlns:a16="http://schemas.microsoft.com/office/drawing/2014/main" id="{B00A8B14-DF97-F83C-332F-64DCAA9194E2}"/>
              </a:ext>
            </a:extLst>
          </p:cNvPr>
          <p:cNvSpPr/>
          <p:nvPr/>
        </p:nvSpPr>
        <p:spPr>
          <a:xfrm>
            <a:off x="1721772" y="2429102"/>
            <a:ext cx="249626" cy="276233"/>
          </a:xfrm>
          <a:prstGeom prst="ellipse">
            <a:avLst/>
          </a:prstGeom>
          <a:solidFill>
            <a:srgbClr val="52CF5F"/>
          </a:solidFill>
          <a:ln w="254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34275" tIns="34275" rIns="34275" bIns="3427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" name="Google Shape;703;p24">
            <a:extLst>
              <a:ext uri="{FF2B5EF4-FFF2-40B4-BE49-F238E27FC236}">
                <a16:creationId xmlns:a16="http://schemas.microsoft.com/office/drawing/2014/main" id="{AA734B36-2980-F304-7307-A879BF1F7BE1}"/>
              </a:ext>
            </a:extLst>
          </p:cNvPr>
          <p:cNvSpPr/>
          <p:nvPr/>
        </p:nvSpPr>
        <p:spPr>
          <a:xfrm>
            <a:off x="1485375" y="2051670"/>
            <a:ext cx="249626" cy="276233"/>
          </a:xfrm>
          <a:prstGeom prst="ellipse">
            <a:avLst/>
          </a:prstGeom>
          <a:solidFill>
            <a:srgbClr val="2467EB"/>
          </a:solidFill>
          <a:ln w="254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34275" tIns="34275" rIns="34275" bIns="3427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id="{9709BD02-CCC8-63CB-17A6-4D96EDEB16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554" b="94268" l="9524" r="89796">
                        <a14:foregroundMark x1="60544" y1="87261" x2="60544" y2="87261"/>
                        <a14:foregroundMark x1="23810" y1="77070" x2="23810" y2="77070"/>
                        <a14:foregroundMark x1="18367" y1="73885" x2="18367" y2="73885"/>
                        <a14:foregroundMark x1="14966" y1="77070" x2="14966" y2="77070"/>
                        <a14:foregroundMark x1="14966" y1="77707" x2="14966" y2="77707"/>
                        <a14:foregroundMark x1="12925" y1="77707" x2="12925" y2="77707"/>
                        <a14:foregroundMark x1="78231" y1="87898" x2="78231" y2="87898"/>
                        <a14:foregroundMark x1="78231" y1="94268" x2="78231" y2="94268"/>
                        <a14:foregroundMark x1="9524" y1="72611" x2="9524" y2="7261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551435" y="3669445"/>
            <a:ext cx="560427" cy="598551"/>
          </a:xfrm>
          <a:prstGeom prst="rect">
            <a:avLst/>
          </a:prstGeom>
        </p:spPr>
      </p:pic>
      <p:sp>
        <p:nvSpPr>
          <p:cNvPr id="95" name="Google Shape;660;p24">
            <a:extLst>
              <a:ext uri="{FF2B5EF4-FFF2-40B4-BE49-F238E27FC236}">
                <a16:creationId xmlns:a16="http://schemas.microsoft.com/office/drawing/2014/main" id="{975C3CAC-DED3-1FC9-A064-ADBB356186B6}"/>
              </a:ext>
            </a:extLst>
          </p:cNvPr>
          <p:cNvSpPr/>
          <p:nvPr/>
        </p:nvSpPr>
        <p:spPr>
          <a:xfrm>
            <a:off x="2387880" y="4467574"/>
            <a:ext cx="636058" cy="663712"/>
          </a:xfrm>
          <a:custGeom>
            <a:avLst/>
            <a:gdLst/>
            <a:ahLst/>
            <a:cxnLst/>
            <a:rect l="l" t="t" r="r" b="b"/>
            <a:pathLst>
              <a:path w="21545" h="21583" extrusionOk="0">
                <a:moveTo>
                  <a:pt x="6995" y="63"/>
                </a:moveTo>
                <a:lnTo>
                  <a:pt x="14146" y="3"/>
                </a:lnTo>
                <a:cubicBezTo>
                  <a:pt x="14614" y="-17"/>
                  <a:pt x="15080" y="70"/>
                  <a:pt x="15513" y="259"/>
                </a:cubicBezTo>
                <a:cubicBezTo>
                  <a:pt x="15911" y="433"/>
                  <a:pt x="16274" y="689"/>
                  <a:pt x="16581" y="1012"/>
                </a:cubicBezTo>
                <a:lnTo>
                  <a:pt x="20981" y="8570"/>
                </a:lnTo>
                <a:cubicBezTo>
                  <a:pt x="21329" y="9291"/>
                  <a:pt x="21521" y="10087"/>
                  <a:pt x="21543" y="10898"/>
                </a:cubicBezTo>
                <a:cubicBezTo>
                  <a:pt x="21563" y="11623"/>
                  <a:pt x="21447" y="12346"/>
                  <a:pt x="21201" y="13022"/>
                </a:cubicBezTo>
                <a:lnTo>
                  <a:pt x="17586" y="19473"/>
                </a:lnTo>
                <a:cubicBezTo>
                  <a:pt x="17302" y="20094"/>
                  <a:pt x="16859" y="20615"/>
                  <a:pt x="16309" y="20976"/>
                </a:cubicBezTo>
                <a:cubicBezTo>
                  <a:pt x="15812" y="21302"/>
                  <a:pt x="15246" y="21485"/>
                  <a:pt x="14664" y="21506"/>
                </a:cubicBezTo>
                <a:lnTo>
                  <a:pt x="8109" y="21583"/>
                </a:lnTo>
                <a:cubicBezTo>
                  <a:pt x="7566" y="21505"/>
                  <a:pt x="7036" y="21344"/>
                  <a:pt x="6536" y="21105"/>
                </a:cubicBezTo>
                <a:cubicBezTo>
                  <a:pt x="5994" y="20847"/>
                  <a:pt x="5493" y="20501"/>
                  <a:pt x="5049" y="20079"/>
                </a:cubicBezTo>
                <a:cubicBezTo>
                  <a:pt x="4224" y="18920"/>
                  <a:pt x="3422" y="17744"/>
                  <a:pt x="2641" y="16551"/>
                </a:cubicBezTo>
                <a:cubicBezTo>
                  <a:pt x="1878" y="15383"/>
                  <a:pt x="1136" y="14199"/>
                  <a:pt x="416" y="13000"/>
                </a:cubicBezTo>
                <a:cubicBezTo>
                  <a:pt x="104" y="12388"/>
                  <a:pt x="-37" y="11694"/>
                  <a:pt x="8" y="10999"/>
                </a:cubicBezTo>
                <a:cubicBezTo>
                  <a:pt x="51" y="10343"/>
                  <a:pt x="258" y="9712"/>
                  <a:pt x="607" y="9172"/>
                </a:cubicBezTo>
                <a:lnTo>
                  <a:pt x="4193" y="1765"/>
                </a:lnTo>
                <a:cubicBezTo>
                  <a:pt x="4457" y="1317"/>
                  <a:pt x="4809" y="937"/>
                  <a:pt x="5224" y="650"/>
                </a:cubicBezTo>
                <a:cubicBezTo>
                  <a:pt x="5753" y="283"/>
                  <a:pt x="6366" y="80"/>
                  <a:pt x="6995" y="6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101600" dist="117707" dir="2013274" rotWithShape="0">
              <a:srgbClr val="000000">
                <a:alpha val="29019"/>
              </a:srgbClr>
            </a:outerShdw>
          </a:effectLst>
        </p:spPr>
        <p:txBody>
          <a:bodyPr spcFirstLastPara="1" wrap="square" lIns="34275" tIns="34275" rIns="34275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" name="Google Shape;660;p24">
            <a:extLst>
              <a:ext uri="{FF2B5EF4-FFF2-40B4-BE49-F238E27FC236}">
                <a16:creationId xmlns:a16="http://schemas.microsoft.com/office/drawing/2014/main" id="{279F1B1C-D0FA-E794-84ED-184235131F8F}"/>
              </a:ext>
            </a:extLst>
          </p:cNvPr>
          <p:cNvSpPr/>
          <p:nvPr/>
        </p:nvSpPr>
        <p:spPr>
          <a:xfrm>
            <a:off x="1908546" y="5414879"/>
            <a:ext cx="636058" cy="663712"/>
          </a:xfrm>
          <a:custGeom>
            <a:avLst/>
            <a:gdLst/>
            <a:ahLst/>
            <a:cxnLst/>
            <a:rect l="l" t="t" r="r" b="b"/>
            <a:pathLst>
              <a:path w="21545" h="21583" extrusionOk="0">
                <a:moveTo>
                  <a:pt x="6995" y="63"/>
                </a:moveTo>
                <a:lnTo>
                  <a:pt x="14146" y="3"/>
                </a:lnTo>
                <a:cubicBezTo>
                  <a:pt x="14614" y="-17"/>
                  <a:pt x="15080" y="70"/>
                  <a:pt x="15513" y="259"/>
                </a:cubicBezTo>
                <a:cubicBezTo>
                  <a:pt x="15911" y="433"/>
                  <a:pt x="16274" y="689"/>
                  <a:pt x="16581" y="1012"/>
                </a:cubicBezTo>
                <a:lnTo>
                  <a:pt x="20981" y="8570"/>
                </a:lnTo>
                <a:cubicBezTo>
                  <a:pt x="21329" y="9291"/>
                  <a:pt x="21521" y="10087"/>
                  <a:pt x="21543" y="10898"/>
                </a:cubicBezTo>
                <a:cubicBezTo>
                  <a:pt x="21563" y="11623"/>
                  <a:pt x="21447" y="12346"/>
                  <a:pt x="21201" y="13022"/>
                </a:cubicBezTo>
                <a:lnTo>
                  <a:pt x="17586" y="19473"/>
                </a:lnTo>
                <a:cubicBezTo>
                  <a:pt x="17302" y="20094"/>
                  <a:pt x="16859" y="20615"/>
                  <a:pt x="16309" y="20976"/>
                </a:cubicBezTo>
                <a:cubicBezTo>
                  <a:pt x="15812" y="21302"/>
                  <a:pt x="15246" y="21485"/>
                  <a:pt x="14664" y="21506"/>
                </a:cubicBezTo>
                <a:lnTo>
                  <a:pt x="8109" y="21583"/>
                </a:lnTo>
                <a:cubicBezTo>
                  <a:pt x="7566" y="21505"/>
                  <a:pt x="7036" y="21344"/>
                  <a:pt x="6536" y="21105"/>
                </a:cubicBezTo>
                <a:cubicBezTo>
                  <a:pt x="5994" y="20847"/>
                  <a:pt x="5493" y="20501"/>
                  <a:pt x="5049" y="20079"/>
                </a:cubicBezTo>
                <a:cubicBezTo>
                  <a:pt x="4224" y="18920"/>
                  <a:pt x="3422" y="17744"/>
                  <a:pt x="2641" y="16551"/>
                </a:cubicBezTo>
                <a:cubicBezTo>
                  <a:pt x="1878" y="15383"/>
                  <a:pt x="1136" y="14199"/>
                  <a:pt x="416" y="13000"/>
                </a:cubicBezTo>
                <a:cubicBezTo>
                  <a:pt x="104" y="12388"/>
                  <a:pt x="-37" y="11694"/>
                  <a:pt x="8" y="10999"/>
                </a:cubicBezTo>
                <a:cubicBezTo>
                  <a:pt x="51" y="10343"/>
                  <a:pt x="258" y="9712"/>
                  <a:pt x="607" y="9172"/>
                </a:cubicBezTo>
                <a:lnTo>
                  <a:pt x="4193" y="1765"/>
                </a:lnTo>
                <a:cubicBezTo>
                  <a:pt x="4457" y="1317"/>
                  <a:pt x="4809" y="937"/>
                  <a:pt x="5224" y="650"/>
                </a:cubicBezTo>
                <a:cubicBezTo>
                  <a:pt x="5753" y="283"/>
                  <a:pt x="6366" y="80"/>
                  <a:pt x="6995" y="6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101600" dist="117707" dir="2013274" rotWithShape="0">
              <a:srgbClr val="000000">
                <a:alpha val="29019"/>
              </a:srgbClr>
            </a:outerShdw>
          </a:effectLst>
        </p:spPr>
        <p:txBody>
          <a:bodyPr spcFirstLastPara="1" wrap="square" lIns="34275" tIns="34275" rIns="34275" bIns="3427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0" name="Picture 99">
            <a:extLst>
              <a:ext uri="{FF2B5EF4-FFF2-40B4-BE49-F238E27FC236}">
                <a16:creationId xmlns:a16="http://schemas.microsoft.com/office/drawing/2014/main" id="{C3C3F544-C4AA-169F-C7FC-005B79A3DB7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471247" y="2697743"/>
            <a:ext cx="711237" cy="787440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D06BB787-49DB-7A8D-E8A2-3247B337335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664" b="91176" l="9639" r="93976">
                        <a14:foregroundMark x1="61446" y1="10504" x2="61446" y2="10504"/>
                        <a14:foregroundMark x1="93976" y1="88655" x2="93976" y2="88655"/>
                        <a14:foregroundMark x1="63454" y1="91176" x2="63454" y2="9117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449026" y="1931947"/>
            <a:ext cx="639211" cy="610973"/>
          </a:xfrm>
          <a:prstGeom prst="rect">
            <a:avLst/>
          </a:prstGeom>
        </p:spPr>
      </p:pic>
      <p:pic>
        <p:nvPicPr>
          <p:cNvPr id="104" name="Picture 103">
            <a:extLst>
              <a:ext uri="{FF2B5EF4-FFF2-40B4-BE49-F238E27FC236}">
                <a16:creationId xmlns:a16="http://schemas.microsoft.com/office/drawing/2014/main" id="{96DC8859-E1DA-67A2-73BD-31F973E74C4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782705" y="5362369"/>
            <a:ext cx="898994" cy="666996"/>
          </a:xfrm>
          <a:prstGeom prst="rect">
            <a:avLst/>
          </a:prstGeom>
        </p:spPr>
      </p:pic>
      <p:pic>
        <p:nvPicPr>
          <p:cNvPr id="106" name="Picture 105">
            <a:extLst>
              <a:ext uri="{FF2B5EF4-FFF2-40B4-BE49-F238E27FC236}">
                <a16:creationId xmlns:a16="http://schemas.microsoft.com/office/drawing/2014/main" id="{C6E5C33A-4131-C432-10DD-033753C2C21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782705" y="1035093"/>
            <a:ext cx="725211" cy="673410"/>
          </a:xfrm>
          <a:prstGeom prst="rect">
            <a:avLst/>
          </a:prstGeom>
        </p:spPr>
      </p:pic>
      <p:pic>
        <p:nvPicPr>
          <p:cNvPr id="108" name="Picture 107">
            <a:extLst>
              <a:ext uri="{FF2B5EF4-FFF2-40B4-BE49-F238E27FC236}">
                <a16:creationId xmlns:a16="http://schemas.microsoft.com/office/drawing/2014/main" id="{5138777A-2484-0737-C4EE-5B3CC68F611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00375" y="4374014"/>
            <a:ext cx="932724" cy="699543"/>
          </a:xfrm>
          <a:prstGeom prst="rect">
            <a:avLst/>
          </a:prstGeom>
        </p:spPr>
      </p:pic>
      <p:sp>
        <p:nvSpPr>
          <p:cNvPr id="109" name="Google Shape;541;p20">
            <a:extLst>
              <a:ext uri="{FF2B5EF4-FFF2-40B4-BE49-F238E27FC236}">
                <a16:creationId xmlns:a16="http://schemas.microsoft.com/office/drawing/2014/main" id="{C82138DE-CE22-96E4-A23F-AEBE282D6BF5}"/>
              </a:ext>
            </a:extLst>
          </p:cNvPr>
          <p:cNvSpPr/>
          <p:nvPr/>
        </p:nvSpPr>
        <p:spPr>
          <a:xfrm>
            <a:off x="8539831" y="1371798"/>
            <a:ext cx="3385675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1" u="none" strike="noStrike" kern="1200" cap="none" spc="0" normalizeH="0" baseline="0" noProof="0" dirty="0">
                <a:ln>
                  <a:noFill/>
                </a:ln>
                <a:solidFill>
                  <a:srgbClr val="174A9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PP No. 14 </a:t>
            </a:r>
            <a:r>
              <a:rPr kumimoji="0" lang="en-US" b="1" i="1" u="none" strike="noStrike" kern="1200" cap="none" spc="0" normalizeH="0" baseline="0" noProof="0" dirty="0" err="1">
                <a:ln>
                  <a:noFill/>
                </a:ln>
                <a:solidFill>
                  <a:srgbClr val="174A9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Tahun</a:t>
            </a:r>
            <a:r>
              <a:rPr kumimoji="0" lang="en-US" b="1" i="1" u="none" strike="noStrike" kern="1200" cap="none" spc="0" normalizeH="0" baseline="0" noProof="0" dirty="0">
                <a:ln>
                  <a:noFill/>
                </a:ln>
                <a:solidFill>
                  <a:srgbClr val="174A9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 2021</a:t>
            </a:r>
            <a:endParaRPr kumimoji="0" b="0" i="1" u="none" strike="noStrike" kern="1200" cap="none" spc="0" normalizeH="0" baseline="0" noProof="0" dirty="0">
              <a:ln>
                <a:noFill/>
              </a:ln>
              <a:solidFill>
                <a:srgbClr val="174A9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25EC32E-EDE3-323E-C39C-0EA31C48563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sp>
        <p:nvSpPr>
          <p:cNvPr id="3" name="Round Same Side Corner Rectangle 1">
            <a:extLst>
              <a:ext uri="{FF2B5EF4-FFF2-40B4-BE49-F238E27FC236}">
                <a16:creationId xmlns:a16="http://schemas.microsoft.com/office/drawing/2014/main" id="{C3EB493F-676A-61FC-A219-31B01A6786F5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8CC0054-F41A-DCCD-2307-5B082CB0C30E}"/>
              </a:ext>
            </a:extLst>
          </p:cNvPr>
          <p:cNvSpPr txBox="1">
            <a:spLocks/>
          </p:cNvSpPr>
          <p:nvPr/>
        </p:nvSpPr>
        <p:spPr>
          <a:xfrm>
            <a:off x="176914" y="169726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800" b="1" dirty="0">
                <a:solidFill>
                  <a:prstClr val="black"/>
                </a:solidFill>
                <a:latin typeface="Segoe UI"/>
              </a:rPr>
              <a:t>PERSYARATAN LISENSI LSBU</a:t>
            </a:r>
          </a:p>
          <a:p>
            <a:pPr>
              <a:lnSpc>
                <a:spcPct val="100000"/>
              </a:lnSpc>
              <a:defRPr/>
            </a:pPr>
            <a:endParaRPr lang="fi-FI" sz="2800" b="1" dirty="0">
              <a:solidFill>
                <a:prstClr val="black"/>
              </a:solidFill>
              <a:latin typeface="Segoe UI"/>
            </a:endParaRPr>
          </a:p>
        </p:txBody>
      </p:sp>
      <p:pic>
        <p:nvPicPr>
          <p:cNvPr id="6" name="Picture 5" descr="lgo sigap.png">
            <a:extLst>
              <a:ext uri="{FF2B5EF4-FFF2-40B4-BE49-F238E27FC236}">
                <a16:creationId xmlns:a16="http://schemas.microsoft.com/office/drawing/2014/main" id="{7970FBDB-B31B-BA85-CFE5-1E8C43DBB11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94452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718;p25">
            <a:extLst>
              <a:ext uri="{FF2B5EF4-FFF2-40B4-BE49-F238E27FC236}">
                <a16:creationId xmlns:a16="http://schemas.microsoft.com/office/drawing/2014/main" id="{5DCDABE1-AD03-9EBE-983A-B2F8AAAE4B41}"/>
              </a:ext>
            </a:extLst>
          </p:cNvPr>
          <p:cNvSpPr/>
          <p:nvPr/>
        </p:nvSpPr>
        <p:spPr>
          <a:xfrm>
            <a:off x="5299988" y="1762793"/>
            <a:ext cx="1411504" cy="1336467"/>
          </a:xfrm>
          <a:prstGeom prst="rect">
            <a:avLst/>
          </a:prstGeom>
          <a:gradFill>
            <a:gsLst>
              <a:gs pos="0">
                <a:srgbClr val="958D73">
                  <a:alpha val="21960"/>
                </a:srgbClr>
              </a:gs>
              <a:gs pos="50000">
                <a:srgbClr val="D8CBA6"/>
              </a:gs>
              <a:gs pos="100000">
                <a:srgbClr val="FFEEDF"/>
              </a:gs>
            </a:gsLst>
            <a:lin ang="13500000" scaled="0"/>
          </a:gradFill>
          <a:ln w="44450" cap="flat" cmpd="sng">
            <a:solidFill>
              <a:srgbClr val="8296B0"/>
            </a:solidFill>
            <a:prstDash val="solid"/>
            <a:miter lim="8000"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" name="Google Shape;719;p25">
            <a:extLst>
              <a:ext uri="{FF2B5EF4-FFF2-40B4-BE49-F238E27FC236}">
                <a16:creationId xmlns:a16="http://schemas.microsoft.com/office/drawing/2014/main" id="{9CF952C8-8199-0148-08D1-06229D3A8344}"/>
              </a:ext>
            </a:extLst>
          </p:cNvPr>
          <p:cNvSpPr/>
          <p:nvPr/>
        </p:nvSpPr>
        <p:spPr>
          <a:xfrm rot="10800000">
            <a:off x="8710764" y="1245572"/>
            <a:ext cx="2787402" cy="500615"/>
          </a:xfrm>
          <a:prstGeom prst="round2SameRect">
            <a:avLst>
              <a:gd name="adj1" fmla="val 16667"/>
              <a:gd name="adj2" fmla="val 50000"/>
            </a:avLst>
          </a:prstGeom>
          <a:solidFill>
            <a:srgbClr val="1E4E79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1" name="Google Shape;720;p25">
            <a:extLst>
              <a:ext uri="{FF2B5EF4-FFF2-40B4-BE49-F238E27FC236}">
                <a16:creationId xmlns:a16="http://schemas.microsoft.com/office/drawing/2014/main" id="{BEB4CD46-2648-2D86-9036-5B31119E9F4E}"/>
              </a:ext>
            </a:extLst>
          </p:cNvPr>
          <p:cNvSpPr/>
          <p:nvPr/>
        </p:nvSpPr>
        <p:spPr>
          <a:xfrm rot="10800000">
            <a:off x="5285969" y="1266627"/>
            <a:ext cx="1439538" cy="532905"/>
          </a:xfrm>
          <a:prstGeom prst="round2SameRect">
            <a:avLst>
              <a:gd name="adj1" fmla="val 16667"/>
              <a:gd name="adj2" fmla="val 35794"/>
            </a:avLst>
          </a:prstGeom>
          <a:solidFill>
            <a:srgbClr val="1E4E79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3" name="Google Shape;721;p25">
            <a:extLst>
              <a:ext uri="{FF2B5EF4-FFF2-40B4-BE49-F238E27FC236}">
                <a16:creationId xmlns:a16="http://schemas.microsoft.com/office/drawing/2014/main" id="{4EF38308-5DB0-C98E-8A58-742287ABF63A}"/>
              </a:ext>
            </a:extLst>
          </p:cNvPr>
          <p:cNvSpPr/>
          <p:nvPr/>
        </p:nvSpPr>
        <p:spPr>
          <a:xfrm rot="10800000">
            <a:off x="247680" y="1266622"/>
            <a:ext cx="1261437" cy="565195"/>
          </a:xfrm>
          <a:prstGeom prst="round2SameRect">
            <a:avLst>
              <a:gd name="adj1" fmla="val 16667"/>
              <a:gd name="adj2" fmla="val 50000"/>
            </a:avLst>
          </a:prstGeom>
          <a:solidFill>
            <a:srgbClr val="1E4E79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4" name="Google Shape;722;p25">
            <a:extLst>
              <a:ext uri="{FF2B5EF4-FFF2-40B4-BE49-F238E27FC236}">
                <a16:creationId xmlns:a16="http://schemas.microsoft.com/office/drawing/2014/main" id="{71F15591-D964-4701-DFC1-2807C138F3FE}"/>
              </a:ext>
            </a:extLst>
          </p:cNvPr>
          <p:cNvSpPr/>
          <p:nvPr/>
        </p:nvSpPr>
        <p:spPr>
          <a:xfrm>
            <a:off x="8710764" y="1725996"/>
            <a:ext cx="2787403" cy="1258959"/>
          </a:xfrm>
          <a:prstGeom prst="rect">
            <a:avLst/>
          </a:prstGeom>
          <a:solidFill>
            <a:srgbClr val="D8E2F3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Roboto"/>
              <a:cs typeface="Roboto"/>
              <a:sym typeface="Roboto"/>
            </a:endParaRPr>
          </a:p>
        </p:txBody>
      </p:sp>
      <p:cxnSp>
        <p:nvCxnSpPr>
          <p:cNvPr id="18" name="Google Shape;724;p25">
            <a:extLst>
              <a:ext uri="{FF2B5EF4-FFF2-40B4-BE49-F238E27FC236}">
                <a16:creationId xmlns:a16="http://schemas.microsoft.com/office/drawing/2014/main" id="{9F6B0F73-1618-395F-3913-B942C047FEA2}"/>
              </a:ext>
            </a:extLst>
          </p:cNvPr>
          <p:cNvCxnSpPr/>
          <p:nvPr/>
        </p:nvCxnSpPr>
        <p:spPr>
          <a:xfrm>
            <a:off x="1614354" y="1927109"/>
            <a:ext cx="3671618" cy="5292"/>
          </a:xfrm>
          <a:prstGeom prst="straightConnector1">
            <a:avLst/>
          </a:prstGeom>
          <a:noFill/>
          <a:ln w="57150" cap="flat" cmpd="sng">
            <a:solidFill>
              <a:schemeClr val="accen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cxnSp>
        <p:nvCxnSpPr>
          <p:cNvPr id="21" name="Google Shape;725;p25">
            <a:extLst>
              <a:ext uri="{FF2B5EF4-FFF2-40B4-BE49-F238E27FC236}">
                <a16:creationId xmlns:a16="http://schemas.microsoft.com/office/drawing/2014/main" id="{B446AB4F-2202-FA51-FFB7-6ADD765282F2}"/>
              </a:ext>
            </a:extLst>
          </p:cNvPr>
          <p:cNvCxnSpPr/>
          <p:nvPr/>
        </p:nvCxnSpPr>
        <p:spPr>
          <a:xfrm>
            <a:off x="6906243" y="2064525"/>
            <a:ext cx="1687490" cy="0"/>
          </a:xfrm>
          <a:prstGeom prst="straightConnector1">
            <a:avLst/>
          </a:prstGeom>
          <a:noFill/>
          <a:ln w="57150" cap="flat" cmpd="sng">
            <a:solidFill>
              <a:srgbClr val="BF9000"/>
            </a:solidFill>
            <a:prstDash val="dash"/>
            <a:miter lim="800000"/>
            <a:headEnd type="none" w="sm" len="sm"/>
            <a:tailEnd type="stealth" w="med" len="med"/>
          </a:ln>
        </p:spPr>
      </p:cxnSp>
      <p:sp>
        <p:nvSpPr>
          <p:cNvPr id="22" name="Google Shape;726;p25">
            <a:extLst>
              <a:ext uri="{FF2B5EF4-FFF2-40B4-BE49-F238E27FC236}">
                <a16:creationId xmlns:a16="http://schemas.microsoft.com/office/drawing/2014/main" id="{B85415EE-9178-ED13-85B3-EBAE7CEC26B0}"/>
              </a:ext>
            </a:extLst>
          </p:cNvPr>
          <p:cNvSpPr txBox="1"/>
          <p:nvPr/>
        </p:nvSpPr>
        <p:spPr>
          <a:xfrm>
            <a:off x="10392191" y="1811289"/>
            <a:ext cx="1047750" cy="1061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PROSES LISENSI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Paling lama 30 hari kerja sejak bukti pembayaran</a:t>
            </a:r>
            <a:endParaRPr kumimoji="0" sz="10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3" name="Google Shape;727;p25">
            <a:extLst>
              <a:ext uri="{FF2B5EF4-FFF2-40B4-BE49-F238E27FC236}">
                <a16:creationId xmlns:a16="http://schemas.microsoft.com/office/drawing/2014/main" id="{5B8D631A-5522-DEFA-5462-F900A8C933EF}"/>
              </a:ext>
            </a:extLst>
          </p:cNvPr>
          <p:cNvSpPr/>
          <p:nvPr/>
        </p:nvSpPr>
        <p:spPr>
          <a:xfrm>
            <a:off x="2207650" y="2837781"/>
            <a:ext cx="1326266" cy="261480"/>
          </a:xfrm>
          <a:prstGeom prst="snipRoundRect">
            <a:avLst>
              <a:gd name="adj1" fmla="val 23564"/>
              <a:gd name="adj2" fmla="val 16667"/>
            </a:avLst>
          </a:prstGeom>
          <a:solidFill>
            <a:schemeClr val="l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Lisensi + NIB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Google Shape;728;p25">
            <a:extLst>
              <a:ext uri="{FF2B5EF4-FFF2-40B4-BE49-F238E27FC236}">
                <a16:creationId xmlns:a16="http://schemas.microsoft.com/office/drawing/2014/main" id="{57E64870-0587-B354-7651-20274A66F1B1}"/>
              </a:ext>
            </a:extLst>
          </p:cNvPr>
          <p:cNvSpPr txBox="1"/>
          <p:nvPr/>
        </p:nvSpPr>
        <p:spPr>
          <a:xfrm>
            <a:off x="8634187" y="1394687"/>
            <a:ext cx="2824715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LPJK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Roboto"/>
              <a:cs typeface="Roboto"/>
              <a:sym typeface="Robot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5" name="Google Shape;729;p25">
            <a:extLst>
              <a:ext uri="{FF2B5EF4-FFF2-40B4-BE49-F238E27FC236}">
                <a16:creationId xmlns:a16="http://schemas.microsoft.com/office/drawing/2014/main" id="{AF66957E-5BCE-399E-BAE8-0D85AA6B936E}"/>
              </a:ext>
            </a:extLst>
          </p:cNvPr>
          <p:cNvSpPr txBox="1"/>
          <p:nvPr/>
        </p:nvSpPr>
        <p:spPr>
          <a:xfrm>
            <a:off x="5302664" y="1403869"/>
            <a:ext cx="1408828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LEMBAGA OSS</a:t>
            </a:r>
            <a:endParaRPr kumimoji="0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7" name="Google Shape;730;p25">
            <a:extLst>
              <a:ext uri="{FF2B5EF4-FFF2-40B4-BE49-F238E27FC236}">
                <a16:creationId xmlns:a16="http://schemas.microsoft.com/office/drawing/2014/main" id="{A6E7F311-1B6D-EF74-F10B-FC1D99B23E15}"/>
              </a:ext>
            </a:extLst>
          </p:cNvPr>
          <p:cNvCxnSpPr/>
          <p:nvPr/>
        </p:nvCxnSpPr>
        <p:spPr>
          <a:xfrm rot="10800000">
            <a:off x="6815219" y="2413741"/>
            <a:ext cx="1687490" cy="0"/>
          </a:xfrm>
          <a:prstGeom prst="straightConnector1">
            <a:avLst/>
          </a:prstGeom>
          <a:noFill/>
          <a:ln w="57150" cap="flat" cmpd="sng">
            <a:solidFill>
              <a:srgbClr val="BF9000"/>
            </a:solidFill>
            <a:prstDash val="dash"/>
            <a:miter lim="800000"/>
            <a:headEnd type="none" w="sm" len="sm"/>
            <a:tailEnd type="stealth" w="med" len="med"/>
          </a:ln>
        </p:spPr>
      </p:cxnSp>
      <p:sp>
        <p:nvSpPr>
          <p:cNvPr id="28" name="Google Shape;731;p25">
            <a:extLst>
              <a:ext uri="{FF2B5EF4-FFF2-40B4-BE49-F238E27FC236}">
                <a16:creationId xmlns:a16="http://schemas.microsoft.com/office/drawing/2014/main" id="{DEE5B230-CDC8-BF20-B84A-05055326E56F}"/>
              </a:ext>
            </a:extLst>
          </p:cNvPr>
          <p:cNvSpPr/>
          <p:nvPr/>
        </p:nvSpPr>
        <p:spPr>
          <a:xfrm>
            <a:off x="2000789" y="1695549"/>
            <a:ext cx="164592" cy="164592"/>
          </a:xfrm>
          <a:prstGeom prst="ellipse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1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Google Shape;732;p25">
            <a:extLst>
              <a:ext uri="{FF2B5EF4-FFF2-40B4-BE49-F238E27FC236}">
                <a16:creationId xmlns:a16="http://schemas.microsoft.com/office/drawing/2014/main" id="{3C4C642D-C9DB-9E2E-22A8-281670971F2F}"/>
              </a:ext>
            </a:extLst>
          </p:cNvPr>
          <p:cNvSpPr/>
          <p:nvPr/>
        </p:nvSpPr>
        <p:spPr>
          <a:xfrm>
            <a:off x="7498479" y="1873410"/>
            <a:ext cx="206955" cy="158673"/>
          </a:xfrm>
          <a:prstGeom prst="ellipse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4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0" name="Google Shape;733;p25">
            <a:extLst>
              <a:ext uri="{FF2B5EF4-FFF2-40B4-BE49-F238E27FC236}">
                <a16:creationId xmlns:a16="http://schemas.microsoft.com/office/drawing/2014/main" id="{2A8F3D21-46FF-0996-1759-1BF0636B74C6}"/>
              </a:ext>
            </a:extLst>
          </p:cNvPr>
          <p:cNvCxnSpPr/>
          <p:nvPr/>
        </p:nvCxnSpPr>
        <p:spPr>
          <a:xfrm rot="10800000">
            <a:off x="1621526" y="2182687"/>
            <a:ext cx="3576868" cy="8928"/>
          </a:xfrm>
          <a:prstGeom prst="straightConnector1">
            <a:avLst/>
          </a:prstGeom>
          <a:noFill/>
          <a:ln w="57150" cap="flat" cmpd="sng">
            <a:solidFill>
              <a:schemeClr val="accen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sp>
        <p:nvSpPr>
          <p:cNvPr id="31" name="Google Shape;734;p25">
            <a:extLst>
              <a:ext uri="{FF2B5EF4-FFF2-40B4-BE49-F238E27FC236}">
                <a16:creationId xmlns:a16="http://schemas.microsoft.com/office/drawing/2014/main" id="{0A9E8F85-00F1-F42C-58DE-501D9BDC31AA}"/>
              </a:ext>
            </a:extLst>
          </p:cNvPr>
          <p:cNvSpPr txBox="1"/>
          <p:nvPr/>
        </p:nvSpPr>
        <p:spPr>
          <a:xfrm>
            <a:off x="2171448" y="1634378"/>
            <a:ext cx="1753433" cy="3000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Data persyaratan</a:t>
            </a: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2" name="Google Shape;735;p25">
            <a:extLst>
              <a:ext uri="{FF2B5EF4-FFF2-40B4-BE49-F238E27FC236}">
                <a16:creationId xmlns:a16="http://schemas.microsoft.com/office/drawing/2014/main" id="{0BEEDDDC-82D2-F75E-2A4B-E415A62F3846}"/>
              </a:ext>
            </a:extLst>
          </p:cNvPr>
          <p:cNvSpPr txBox="1"/>
          <p:nvPr/>
        </p:nvSpPr>
        <p:spPr>
          <a:xfrm>
            <a:off x="6666097" y="1380463"/>
            <a:ext cx="1872621" cy="507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Notifikasi Proses 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Validasi untuk Lisensi</a:t>
            </a: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3" name="Google Shape;736;p25">
            <a:extLst>
              <a:ext uri="{FF2B5EF4-FFF2-40B4-BE49-F238E27FC236}">
                <a16:creationId xmlns:a16="http://schemas.microsoft.com/office/drawing/2014/main" id="{CAC1D925-A4BF-98AB-BB08-F36F5DC27DF2}"/>
              </a:ext>
            </a:extLst>
          </p:cNvPr>
          <p:cNvSpPr txBox="1"/>
          <p:nvPr/>
        </p:nvSpPr>
        <p:spPr>
          <a:xfrm>
            <a:off x="6762508" y="2537118"/>
            <a:ext cx="1964959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Notifikasi Terbit 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surat tanda Lisensi LSBU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6" name="Google Shape;739;p25">
            <a:extLst>
              <a:ext uri="{FF2B5EF4-FFF2-40B4-BE49-F238E27FC236}">
                <a16:creationId xmlns:a16="http://schemas.microsoft.com/office/drawing/2014/main" id="{09C4D5DE-D3E1-16AB-8727-BF80DFB958E9}"/>
              </a:ext>
            </a:extLst>
          </p:cNvPr>
          <p:cNvSpPr/>
          <p:nvPr/>
        </p:nvSpPr>
        <p:spPr>
          <a:xfrm>
            <a:off x="312976" y="1834084"/>
            <a:ext cx="1150941" cy="1077218"/>
          </a:xfrm>
          <a:prstGeom prst="rect">
            <a:avLst/>
          </a:prstGeom>
          <a:noFill/>
          <a:ln w="44450" cap="flat" cmpd="sng">
            <a:solidFill>
              <a:srgbClr val="8296B0"/>
            </a:solidFill>
            <a:prstDash val="solid"/>
            <a:miter lim="8000"/>
            <a:headEnd type="none" w="sm" len="sm"/>
            <a:tailEnd type="none" w="sm" len="sm"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8" name="Google Shape;741;p25">
            <a:extLst>
              <a:ext uri="{FF2B5EF4-FFF2-40B4-BE49-F238E27FC236}">
                <a16:creationId xmlns:a16="http://schemas.microsoft.com/office/drawing/2014/main" id="{ABE4631C-49B5-AB21-DECA-7D11B7A490C6}"/>
              </a:ext>
            </a:extLst>
          </p:cNvPr>
          <p:cNvSpPr txBox="1"/>
          <p:nvPr/>
        </p:nvSpPr>
        <p:spPr>
          <a:xfrm>
            <a:off x="9089999" y="2698701"/>
            <a:ext cx="1047750" cy="3000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Validasi</a:t>
            </a:r>
            <a:endParaRPr kumimoji="0" sz="13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9" name="Google Shape;742;p25">
            <a:extLst>
              <a:ext uri="{FF2B5EF4-FFF2-40B4-BE49-F238E27FC236}">
                <a16:creationId xmlns:a16="http://schemas.microsoft.com/office/drawing/2014/main" id="{025CE163-0BAB-6DBE-C9BB-F5117F3C13AE}"/>
              </a:ext>
            </a:extLst>
          </p:cNvPr>
          <p:cNvSpPr txBox="1"/>
          <p:nvPr/>
        </p:nvSpPr>
        <p:spPr>
          <a:xfrm>
            <a:off x="8049594" y="3314868"/>
            <a:ext cx="3815837" cy="1338828"/>
          </a:xfrm>
          <a:prstGeom prst="rect">
            <a:avLst/>
          </a:prstGeom>
          <a:solidFill>
            <a:srgbClr val="BBD6EE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14313" marR="0" lvl="0" indent="-214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Char char="•"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Validasi merupakan penilaian keabsahan dan pembuktian persyaratan 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14313" marR="0" lvl="0" indent="-2143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/>
              <a:buChar char="•"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Validasi, dapat dilakukan dengan cara: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73869" marR="0" lvl="0" indent="-2571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Calibri"/>
              <a:buAutoNum type="alphaLcPeriod"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klarifikasi dan konfirmasi kepada pemohon dan/atau pihak terkait; dan/atau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473869" marR="0" lvl="0" indent="-2571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Calibri"/>
              <a:buAutoNum type="alphaLcPeriod"/>
              <a:tabLst/>
              <a:defRPr/>
            </a:pPr>
            <a:r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peninjauan lapangan.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Google Shape;743;p25">
            <a:extLst>
              <a:ext uri="{FF2B5EF4-FFF2-40B4-BE49-F238E27FC236}">
                <a16:creationId xmlns:a16="http://schemas.microsoft.com/office/drawing/2014/main" id="{E0E74879-FC82-01A3-3D8B-263483F53A74}"/>
              </a:ext>
            </a:extLst>
          </p:cNvPr>
          <p:cNvSpPr/>
          <p:nvPr/>
        </p:nvSpPr>
        <p:spPr>
          <a:xfrm>
            <a:off x="161443" y="5174325"/>
            <a:ext cx="11823032" cy="815395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Lisens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 LSBU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memua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rua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lingku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Lisens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denga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mempertimbangka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kelengkapa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persyarata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 dan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skem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 yang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diusulka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. 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masa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berlaku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lisens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 LSBU 3 (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tig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)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tahu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 dan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dapa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diperpanja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.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Google Shape;744;p25">
            <a:extLst>
              <a:ext uri="{FF2B5EF4-FFF2-40B4-BE49-F238E27FC236}">
                <a16:creationId xmlns:a16="http://schemas.microsoft.com/office/drawing/2014/main" id="{BBCEF0C9-90BB-62C2-C7D5-54352747B63F}"/>
              </a:ext>
            </a:extLst>
          </p:cNvPr>
          <p:cNvSpPr/>
          <p:nvPr/>
        </p:nvSpPr>
        <p:spPr>
          <a:xfrm>
            <a:off x="161443" y="3314868"/>
            <a:ext cx="3225906" cy="1384995"/>
          </a:xfrm>
          <a:prstGeom prst="rect">
            <a:avLst/>
          </a:prstGeom>
          <a:solidFill>
            <a:srgbClr val="C4E0B2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LSBU dapat menambah layanan Lisensi berdasarkan kecukupan persyaratan LSBU dengan cara mengajukan permohonan penambahan rekomendasi layanan Lisensi kepada OSS. 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2" name="Google Shape;745;p25">
            <a:extLst>
              <a:ext uri="{FF2B5EF4-FFF2-40B4-BE49-F238E27FC236}">
                <a16:creationId xmlns:a16="http://schemas.microsoft.com/office/drawing/2014/main" id="{54AE2A40-8DBD-EA5C-15CC-B03D3AD13BCA}"/>
              </a:ext>
            </a:extLst>
          </p:cNvPr>
          <p:cNvSpPr/>
          <p:nvPr/>
        </p:nvSpPr>
        <p:spPr>
          <a:xfrm>
            <a:off x="2000695" y="1978889"/>
            <a:ext cx="206955" cy="158673"/>
          </a:xfrm>
          <a:prstGeom prst="ellipse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2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Google Shape;746;p25">
            <a:extLst>
              <a:ext uri="{FF2B5EF4-FFF2-40B4-BE49-F238E27FC236}">
                <a16:creationId xmlns:a16="http://schemas.microsoft.com/office/drawing/2014/main" id="{FC2285DE-1E6F-780A-25F6-C41C2C65DA62}"/>
              </a:ext>
            </a:extLst>
          </p:cNvPr>
          <p:cNvSpPr/>
          <p:nvPr/>
        </p:nvSpPr>
        <p:spPr>
          <a:xfrm>
            <a:off x="1979607" y="2292564"/>
            <a:ext cx="206955" cy="158673"/>
          </a:xfrm>
          <a:prstGeom prst="ellipse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3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Google Shape;747;p25">
            <a:extLst>
              <a:ext uri="{FF2B5EF4-FFF2-40B4-BE49-F238E27FC236}">
                <a16:creationId xmlns:a16="http://schemas.microsoft.com/office/drawing/2014/main" id="{53654320-BD0A-85E2-690E-A58E04897809}"/>
              </a:ext>
            </a:extLst>
          </p:cNvPr>
          <p:cNvSpPr/>
          <p:nvPr/>
        </p:nvSpPr>
        <p:spPr>
          <a:xfrm>
            <a:off x="7498479" y="2191615"/>
            <a:ext cx="206955" cy="158673"/>
          </a:xfrm>
          <a:prstGeom prst="ellipse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5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Google Shape;748;p25">
            <a:extLst>
              <a:ext uri="{FF2B5EF4-FFF2-40B4-BE49-F238E27FC236}">
                <a16:creationId xmlns:a16="http://schemas.microsoft.com/office/drawing/2014/main" id="{3B8ECE09-0524-2F41-963D-517D37931E2C}"/>
              </a:ext>
            </a:extLst>
          </p:cNvPr>
          <p:cNvSpPr txBox="1"/>
          <p:nvPr/>
        </p:nvSpPr>
        <p:spPr>
          <a:xfrm>
            <a:off x="2177143" y="1918725"/>
            <a:ext cx="3895816" cy="3000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Notifikasi kelengkapan dan pembayaran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Roboto"/>
              <a:cs typeface="Roboto"/>
              <a:sym typeface="Roboto"/>
            </a:endParaRPr>
          </a:p>
        </p:txBody>
      </p:sp>
      <p:cxnSp>
        <p:nvCxnSpPr>
          <p:cNvPr id="46" name="Google Shape;749;p25">
            <a:extLst>
              <a:ext uri="{FF2B5EF4-FFF2-40B4-BE49-F238E27FC236}">
                <a16:creationId xmlns:a16="http://schemas.microsoft.com/office/drawing/2014/main" id="{80991951-474E-C5A6-03FF-55FC36D92DAC}"/>
              </a:ext>
            </a:extLst>
          </p:cNvPr>
          <p:cNvCxnSpPr/>
          <p:nvPr/>
        </p:nvCxnSpPr>
        <p:spPr>
          <a:xfrm>
            <a:off x="1583169" y="2496792"/>
            <a:ext cx="3671618" cy="5292"/>
          </a:xfrm>
          <a:prstGeom prst="straightConnector1">
            <a:avLst/>
          </a:prstGeom>
          <a:noFill/>
          <a:ln w="57150" cap="flat" cmpd="sng">
            <a:solidFill>
              <a:schemeClr val="accen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sp>
        <p:nvSpPr>
          <p:cNvPr id="47" name="Google Shape;750;p25">
            <a:extLst>
              <a:ext uri="{FF2B5EF4-FFF2-40B4-BE49-F238E27FC236}">
                <a16:creationId xmlns:a16="http://schemas.microsoft.com/office/drawing/2014/main" id="{3F8BC312-FE0A-091B-A3CF-9A75AE6CA1E4}"/>
              </a:ext>
            </a:extLst>
          </p:cNvPr>
          <p:cNvSpPr txBox="1"/>
          <p:nvPr/>
        </p:nvSpPr>
        <p:spPr>
          <a:xfrm>
            <a:off x="2138137" y="2237037"/>
            <a:ext cx="3021900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Bukti pembayaran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Roboto"/>
              <a:cs typeface="Roboto"/>
              <a:sym typeface="Roboto"/>
            </a:endParaRPr>
          </a:p>
        </p:txBody>
      </p:sp>
      <p:cxnSp>
        <p:nvCxnSpPr>
          <p:cNvPr id="48" name="Google Shape;751;p25">
            <a:extLst>
              <a:ext uri="{FF2B5EF4-FFF2-40B4-BE49-F238E27FC236}">
                <a16:creationId xmlns:a16="http://schemas.microsoft.com/office/drawing/2014/main" id="{2296D67D-2CBC-141E-7A9F-C32C3366B7A8}"/>
              </a:ext>
            </a:extLst>
          </p:cNvPr>
          <p:cNvCxnSpPr/>
          <p:nvPr/>
        </p:nvCxnSpPr>
        <p:spPr>
          <a:xfrm rot="10800000">
            <a:off x="1583169" y="2762663"/>
            <a:ext cx="3576868" cy="8928"/>
          </a:xfrm>
          <a:prstGeom prst="straightConnector1">
            <a:avLst/>
          </a:prstGeom>
          <a:noFill/>
          <a:ln w="57150" cap="flat" cmpd="sng">
            <a:solidFill>
              <a:schemeClr val="accent1"/>
            </a:solidFill>
            <a:prstDash val="solid"/>
            <a:miter lim="800000"/>
            <a:headEnd type="none" w="sm" len="sm"/>
            <a:tailEnd type="stealth" w="med" len="med"/>
          </a:ln>
        </p:spPr>
      </p:cxnSp>
      <p:sp>
        <p:nvSpPr>
          <p:cNvPr id="49" name="Google Shape;752;p25">
            <a:extLst>
              <a:ext uri="{FF2B5EF4-FFF2-40B4-BE49-F238E27FC236}">
                <a16:creationId xmlns:a16="http://schemas.microsoft.com/office/drawing/2014/main" id="{3A6AC76A-AF4E-07E6-A984-57B5D5827F86}"/>
              </a:ext>
            </a:extLst>
          </p:cNvPr>
          <p:cNvSpPr/>
          <p:nvPr/>
        </p:nvSpPr>
        <p:spPr>
          <a:xfrm>
            <a:off x="1921721" y="2827367"/>
            <a:ext cx="206955" cy="158673"/>
          </a:xfrm>
          <a:prstGeom prst="ellipse">
            <a:avLst/>
          </a:prstGeom>
          <a:noFill/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6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Google Shape;753;p25">
            <a:extLst>
              <a:ext uri="{FF2B5EF4-FFF2-40B4-BE49-F238E27FC236}">
                <a16:creationId xmlns:a16="http://schemas.microsoft.com/office/drawing/2014/main" id="{16ABC02D-BC0B-52AE-0225-D58D229F7EBC}"/>
              </a:ext>
            </a:extLst>
          </p:cNvPr>
          <p:cNvSpPr/>
          <p:nvPr/>
        </p:nvSpPr>
        <p:spPr>
          <a:xfrm>
            <a:off x="7426910" y="809120"/>
            <a:ext cx="4372553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 panose="020B0502020202020204" pitchFamily="34" charset="0"/>
                <a:ea typeface="Calibri"/>
                <a:cs typeface="Calibri"/>
                <a:sym typeface="Calibri"/>
              </a:rPr>
              <a:t>Pasal</a:t>
            </a: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 panose="020B0502020202020204" pitchFamily="34" charset="0"/>
                <a:ea typeface="Calibri"/>
                <a:cs typeface="Calibri"/>
                <a:sym typeface="Calibri"/>
              </a:rPr>
              <a:t> 41M, 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 panose="020B0502020202020204" pitchFamily="34" charset="0"/>
                <a:ea typeface="Calibri"/>
                <a:cs typeface="Calibri"/>
                <a:sym typeface="Calibri"/>
              </a:rPr>
              <a:t>Pasal</a:t>
            </a: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 panose="020B0502020202020204" pitchFamily="34" charset="0"/>
                <a:ea typeface="Calibri"/>
                <a:cs typeface="Calibri"/>
                <a:sym typeface="Calibri"/>
              </a:rPr>
              <a:t> 41N dan 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 panose="020B0502020202020204" pitchFamily="34" charset="0"/>
                <a:ea typeface="Calibri"/>
                <a:cs typeface="Calibri"/>
                <a:sym typeface="Calibri"/>
              </a:rPr>
              <a:t>Pasal</a:t>
            </a: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 panose="020B0502020202020204" pitchFamily="34" charset="0"/>
                <a:ea typeface="Calibri"/>
                <a:cs typeface="Calibri"/>
                <a:sym typeface="Calibri"/>
              </a:rPr>
              <a:t> 41O</a:t>
            </a:r>
            <a:endParaRPr kumimoji="0" sz="1800" b="0" i="1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 panose="020B0502020202020204" pitchFamily="34" charset="0"/>
              <a:ea typeface="Calibri"/>
              <a:cs typeface="Calibri"/>
              <a:sym typeface="Calibri"/>
            </a:endParaRP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070569EA-FFD8-E4EC-4950-D965B7BF02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5804" y="1828265"/>
            <a:ext cx="870436" cy="870436"/>
          </a:xfrm>
          <a:prstGeom prst="rect">
            <a:avLst/>
          </a:prstGeom>
          <a:ln w="3175">
            <a:solidFill>
              <a:srgbClr val="354878"/>
            </a:solidFill>
          </a:ln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11BF6907-9E4A-586B-7E2F-77CCB0DBFF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370" y="1794968"/>
            <a:ext cx="1237545" cy="1237545"/>
          </a:xfrm>
          <a:prstGeom prst="rect">
            <a:avLst/>
          </a:prstGeom>
        </p:spPr>
      </p:pic>
      <p:sp>
        <p:nvSpPr>
          <p:cNvPr id="56" name="Google Shape;729;p25">
            <a:extLst>
              <a:ext uri="{FF2B5EF4-FFF2-40B4-BE49-F238E27FC236}">
                <a16:creationId xmlns:a16="http://schemas.microsoft.com/office/drawing/2014/main" id="{64793AF9-F3F6-8ADE-E3EB-7F90002E7F84}"/>
              </a:ext>
            </a:extLst>
          </p:cNvPr>
          <p:cNvSpPr txBox="1"/>
          <p:nvPr/>
        </p:nvSpPr>
        <p:spPr>
          <a:xfrm>
            <a:off x="590177" y="1412847"/>
            <a:ext cx="63716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LSBU</a:t>
            </a:r>
            <a:endParaRPr kumimoji="0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59212E84-6BCC-EFC3-23F7-E153CB3A5F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7082" y="2161985"/>
            <a:ext cx="991336" cy="397345"/>
          </a:xfrm>
          <a:prstGeom prst="rect">
            <a:avLst/>
          </a:prstGeom>
        </p:spPr>
      </p:pic>
      <p:sp>
        <p:nvSpPr>
          <p:cNvPr id="59" name="Google Shape;541;p20">
            <a:extLst>
              <a:ext uri="{FF2B5EF4-FFF2-40B4-BE49-F238E27FC236}">
                <a16:creationId xmlns:a16="http://schemas.microsoft.com/office/drawing/2014/main" id="{4D2B2070-176F-B324-9E11-7822CEA4E960}"/>
              </a:ext>
            </a:extLst>
          </p:cNvPr>
          <p:cNvSpPr/>
          <p:nvPr/>
        </p:nvSpPr>
        <p:spPr>
          <a:xfrm>
            <a:off x="228883" y="865939"/>
            <a:ext cx="3385675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 panose="020B0502020202020204" pitchFamily="34" charset="0"/>
                <a:ea typeface="Calibri"/>
                <a:cs typeface="Calibri"/>
                <a:sym typeface="Calibri"/>
              </a:rPr>
              <a:t>PP No. 14 </a:t>
            </a:r>
            <a:r>
              <a:rPr kumimoji="0" lang="en-US" b="1" i="1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 panose="020B0502020202020204" pitchFamily="34" charset="0"/>
                <a:ea typeface="Calibri"/>
                <a:cs typeface="Calibri"/>
                <a:sym typeface="Calibri"/>
              </a:rPr>
              <a:t>Tahun</a:t>
            </a:r>
            <a:r>
              <a:rPr kumimoji="0" lang="en-US" b="1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 panose="020B0502020202020204" pitchFamily="34" charset="0"/>
                <a:ea typeface="Calibri"/>
                <a:cs typeface="Calibri"/>
                <a:sym typeface="Calibri"/>
              </a:rPr>
              <a:t> 2021</a:t>
            </a:r>
            <a:endParaRPr kumimoji="0" b="0" i="1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 panose="020B0502020202020204" pitchFamily="34" charset="0"/>
              <a:ea typeface="Calibri"/>
              <a:cs typeface="Calibri"/>
              <a:sym typeface="Calibri"/>
            </a:endParaRPr>
          </a:p>
        </p:txBody>
      </p:sp>
      <p:sp>
        <p:nvSpPr>
          <p:cNvPr id="17" name="Round Same Side Corner Rectangle 1">
            <a:extLst>
              <a:ext uri="{FF2B5EF4-FFF2-40B4-BE49-F238E27FC236}">
                <a16:creationId xmlns:a16="http://schemas.microsoft.com/office/drawing/2014/main" id="{107D5F48-35F5-0942-8BBC-F9E92B24A791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FBC8721F-0A9B-33D3-B068-AFF286FDEE39}"/>
              </a:ext>
            </a:extLst>
          </p:cNvPr>
          <p:cNvSpPr txBox="1">
            <a:spLocks/>
          </p:cNvSpPr>
          <p:nvPr/>
        </p:nvSpPr>
        <p:spPr>
          <a:xfrm>
            <a:off x="176914" y="169726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800" b="1" dirty="0">
                <a:solidFill>
                  <a:prstClr val="black"/>
                </a:solidFill>
                <a:latin typeface="Segoe UI"/>
              </a:rPr>
              <a:t>HAK DAN KEWAJIBAN LSBU BERLISENSI (1/2)</a:t>
            </a:r>
          </a:p>
          <a:p>
            <a:pPr>
              <a:lnSpc>
                <a:spcPct val="100000"/>
              </a:lnSpc>
              <a:defRPr/>
            </a:pPr>
            <a:endParaRPr lang="fi-FI" sz="2800" b="1" dirty="0">
              <a:solidFill>
                <a:prstClr val="black"/>
              </a:solidFill>
              <a:latin typeface="Segoe UI"/>
            </a:endParaRPr>
          </a:p>
        </p:txBody>
      </p:sp>
      <p:pic>
        <p:nvPicPr>
          <p:cNvPr id="35" name="Picture 34" descr="lgo sigap.png">
            <a:extLst>
              <a:ext uri="{FF2B5EF4-FFF2-40B4-BE49-F238E27FC236}">
                <a16:creationId xmlns:a16="http://schemas.microsoft.com/office/drawing/2014/main" id="{3AE74510-21BA-6F10-64B5-B2E3A87F35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43EBF399-76CE-B406-5DE6-7D5806BC32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52" name="Group 51">
            <a:extLst>
              <a:ext uri="{FF2B5EF4-FFF2-40B4-BE49-F238E27FC236}">
                <a16:creationId xmlns:a16="http://schemas.microsoft.com/office/drawing/2014/main" id="{59163EFF-05BD-CF56-FE9C-6E542EBC3CC0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55B0F6BF-3D91-CC58-C8B2-213921B4FF1E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70F3056D-2893-9E66-2B80-3E02CAAADFDB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46685BFB-D04D-DBE1-D7ED-4EE6E2D5E00C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885A7262-C44E-605D-7FC9-783D1212C2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40101071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" name="Group 72"/>
          <p:cNvGrpSpPr/>
          <p:nvPr/>
        </p:nvGrpSpPr>
        <p:grpSpPr>
          <a:xfrm>
            <a:off x="1626247" y="5077265"/>
            <a:ext cx="1853680" cy="306807"/>
            <a:chOff x="402341" y="4997135"/>
            <a:chExt cx="1853680" cy="306807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6795043D-3168-4DD6-A6C1-8FB1D670C85F}"/>
                </a:ext>
              </a:extLst>
            </p:cNvPr>
            <p:cNvSpPr/>
            <p:nvPr/>
          </p:nvSpPr>
          <p:spPr>
            <a:xfrm>
              <a:off x="402341" y="5226245"/>
              <a:ext cx="1853680" cy="776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EEA2962B-DBD7-4EA7-9278-D014E3F3EDE7}"/>
                </a:ext>
              </a:extLst>
            </p:cNvPr>
            <p:cNvSpPr/>
            <p:nvPr/>
          </p:nvSpPr>
          <p:spPr>
            <a:xfrm>
              <a:off x="402341" y="4997135"/>
              <a:ext cx="1853680" cy="235575"/>
            </a:xfrm>
            <a:prstGeom prst="rect">
              <a:avLst/>
            </a:prstGeom>
            <a:solidFill>
              <a:srgbClr val="1E32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509594" y="4956057"/>
            <a:ext cx="1853680" cy="306807"/>
            <a:chOff x="402341" y="4997135"/>
            <a:chExt cx="1853680" cy="306807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6795043D-3168-4DD6-A6C1-8FB1D670C85F}"/>
                </a:ext>
              </a:extLst>
            </p:cNvPr>
            <p:cNvSpPr/>
            <p:nvPr/>
          </p:nvSpPr>
          <p:spPr>
            <a:xfrm>
              <a:off x="402341" y="5226245"/>
              <a:ext cx="1853680" cy="776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EEA2962B-DBD7-4EA7-9278-D014E3F3EDE7}"/>
                </a:ext>
              </a:extLst>
            </p:cNvPr>
            <p:cNvSpPr/>
            <p:nvPr/>
          </p:nvSpPr>
          <p:spPr>
            <a:xfrm>
              <a:off x="402341" y="4997135"/>
              <a:ext cx="1853680" cy="235575"/>
            </a:xfrm>
            <a:prstGeom prst="rect">
              <a:avLst/>
            </a:prstGeom>
            <a:solidFill>
              <a:srgbClr val="1E32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1D251A5B-E637-4C56-A105-E8E557D8FE89}"/>
              </a:ext>
            </a:extLst>
          </p:cNvPr>
          <p:cNvSpPr/>
          <p:nvPr/>
        </p:nvSpPr>
        <p:spPr>
          <a:xfrm>
            <a:off x="3559136" y="1597740"/>
            <a:ext cx="5410189" cy="2055566"/>
          </a:xfrm>
          <a:prstGeom prst="rect">
            <a:avLst/>
          </a:prstGeom>
          <a:solidFill>
            <a:srgbClr val="354878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54878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C3273EA-9BF8-4128-94CB-9B0E4B407BDF}"/>
              </a:ext>
            </a:extLst>
          </p:cNvPr>
          <p:cNvSpPr/>
          <p:nvPr/>
        </p:nvSpPr>
        <p:spPr>
          <a:xfrm>
            <a:off x="5513195" y="891589"/>
            <a:ext cx="1543813" cy="306573"/>
          </a:xfrm>
          <a:prstGeom prst="rect">
            <a:avLst/>
          </a:prstGeom>
          <a:solidFill>
            <a:srgbClr val="1E3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+mn-ea"/>
                <a:cs typeface="+mn-cs"/>
              </a:rPr>
              <a:t>MENTERI PUPR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2EE1255-2927-4395-BB32-9C043FA90A30}"/>
              </a:ext>
            </a:extLst>
          </p:cNvPr>
          <p:cNvSpPr/>
          <p:nvPr/>
        </p:nvSpPr>
        <p:spPr>
          <a:xfrm>
            <a:off x="5385456" y="1722899"/>
            <a:ext cx="1799290" cy="421588"/>
          </a:xfrm>
          <a:prstGeom prst="rect">
            <a:avLst/>
          </a:prstGeom>
          <a:solidFill>
            <a:srgbClr val="1E3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+mn-ea"/>
                <a:cs typeface="+mn-cs"/>
              </a:rPr>
              <a:t>Ketu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+mn-ea"/>
                <a:cs typeface="+mn-cs"/>
              </a:rPr>
              <a:t> LPJK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+mn-ea"/>
                <a:cs typeface="+mn-cs"/>
              </a:rPr>
              <a:t>Ir.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+mn-ea"/>
                <a:cs typeface="+mn-cs"/>
              </a:rPr>
              <a:t>Taufik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+mn-ea"/>
                <a:cs typeface="+mn-cs"/>
              </a:rPr>
              <a:t>Widjoyon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+mn-ea"/>
                <a:cs typeface="+mn-cs"/>
              </a:rPr>
              <a:t>, M.Sc.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76DD9D1-DBD5-4D2A-84A8-5F324943F783}"/>
              </a:ext>
            </a:extLst>
          </p:cNvPr>
          <p:cNvSpPr/>
          <p:nvPr/>
        </p:nvSpPr>
        <p:spPr>
          <a:xfrm>
            <a:off x="4560520" y="2431770"/>
            <a:ext cx="800321" cy="585849"/>
          </a:xfrm>
          <a:prstGeom prst="rect">
            <a:avLst/>
          </a:prstGeom>
          <a:solidFill>
            <a:srgbClr val="1E3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DANG 2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Demi Cond" panose="020B07060304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Lisensi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 dan PTUK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B050302010202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01C7398-27E3-4C1E-9B8E-735500A3A2A8}"/>
              </a:ext>
            </a:extLst>
          </p:cNvPr>
          <p:cNvSpPr/>
          <p:nvPr/>
        </p:nvSpPr>
        <p:spPr>
          <a:xfrm>
            <a:off x="5443879" y="2437374"/>
            <a:ext cx="800321" cy="585849"/>
          </a:xfrm>
          <a:prstGeom prst="rect">
            <a:avLst/>
          </a:prstGeom>
          <a:solidFill>
            <a:srgbClr val="1E3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DANG 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Pelatihan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, Uji </a:t>
            </a:r>
            <a:r>
              <a:rPr kumimoji="0" lang="en-US" sz="6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Kompetensi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 dan </a:t>
            </a:r>
            <a:r>
              <a:rPr kumimoji="0" lang="en-US" sz="6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Penetapan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6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Penilai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 Ahli</a:t>
            </a:r>
            <a:endParaRPr kumimoji="0" lang="en-ID" sz="6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B050302010202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389D322-F270-437B-8E6F-4ABA00BBC1B5}"/>
              </a:ext>
            </a:extLst>
          </p:cNvPr>
          <p:cNvSpPr/>
          <p:nvPr/>
        </p:nvSpPr>
        <p:spPr>
          <a:xfrm>
            <a:off x="6324181" y="2431770"/>
            <a:ext cx="800321" cy="585849"/>
          </a:xfrm>
          <a:prstGeom prst="rect">
            <a:avLst/>
          </a:prstGeom>
          <a:solidFill>
            <a:srgbClr val="1E3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DANG 4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Demi Cond" panose="020B07060304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Penyetaraan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 Tenaga </a:t>
            </a:r>
            <a:r>
              <a:rPr kumimoji="0" lang="en-US" sz="6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Kerja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6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Asing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 dan </a:t>
            </a:r>
            <a:r>
              <a:rPr kumimoji="0" lang="en-US" sz="6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Akreditasi</a:t>
            </a:r>
            <a:endParaRPr kumimoji="0" lang="en-ID" sz="6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B050302010202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94C7390-A1A9-4B67-ABB0-F18B3E198FF2}"/>
              </a:ext>
            </a:extLst>
          </p:cNvPr>
          <p:cNvSpPr/>
          <p:nvPr/>
        </p:nvSpPr>
        <p:spPr>
          <a:xfrm>
            <a:off x="7207538" y="2431770"/>
            <a:ext cx="800321" cy="585849"/>
          </a:xfrm>
          <a:prstGeom prst="rect">
            <a:avLst/>
          </a:prstGeom>
          <a:solidFill>
            <a:srgbClr val="1E3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DANG 5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Demi Cond" panose="020B07060304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Pengembangan</a:t>
            </a:r>
            <a:r>
              <a:rPr kumimoji="0" lang="en-US" sz="63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63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Penyelenggaraan</a:t>
            </a:r>
            <a:r>
              <a:rPr kumimoji="0" lang="en-US" sz="63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 Jasa &amp; Usaha </a:t>
            </a:r>
            <a:r>
              <a:rPr kumimoji="0" lang="en-US" sz="63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Sektor</a:t>
            </a:r>
            <a:r>
              <a:rPr kumimoji="0" lang="en-US" sz="63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63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Konstruksi</a:t>
            </a:r>
            <a:endParaRPr kumimoji="0" lang="en-ID" sz="63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B0503020102020204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B050302010202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E9338AF-B492-4B69-80FA-A5B633E49EE3}"/>
              </a:ext>
            </a:extLst>
          </p:cNvPr>
          <p:cNvSpPr/>
          <p:nvPr/>
        </p:nvSpPr>
        <p:spPr>
          <a:xfrm>
            <a:off x="3683275" y="3008449"/>
            <a:ext cx="799811" cy="5086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Ir.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Ludy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Eqba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Almuhamadi</a:t>
            </a:r>
            <a:endParaRPr kumimoji="0" lang="en-ID" sz="900" b="0" i="0" u="none" strike="noStrike" kern="1200" cap="none" spc="0" normalizeH="0" baseline="0" noProof="0" dirty="0">
              <a:ln>
                <a:noFill/>
              </a:ln>
              <a:solidFill>
                <a:srgbClr val="354878"/>
              </a:solidFill>
              <a:effectLst/>
              <a:uLnTx/>
              <a:uFillTx/>
              <a:latin typeface="Franklin Gothic Book" panose="020B050302010202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4D2FE90-0EA4-481C-B666-5EC6301E6858}"/>
              </a:ext>
            </a:extLst>
          </p:cNvPr>
          <p:cNvSpPr/>
          <p:nvPr/>
        </p:nvSpPr>
        <p:spPr>
          <a:xfrm>
            <a:off x="4565613" y="3008449"/>
            <a:ext cx="795226" cy="5086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Agu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Gendroyono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, ST., MT.</a:t>
            </a:r>
            <a:endParaRPr kumimoji="0" lang="en-ID" sz="900" b="0" i="0" u="none" strike="noStrike" kern="1200" cap="none" spc="0" normalizeH="0" baseline="0" noProof="0" dirty="0">
              <a:ln>
                <a:noFill/>
              </a:ln>
              <a:solidFill>
                <a:srgbClr val="354878"/>
              </a:solidFill>
              <a:effectLst/>
              <a:uLnTx/>
              <a:uFillTx/>
              <a:latin typeface="Franklin Gothic Book" panose="020B050302010202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3685E14-F5EA-4802-8E64-1AFF75CBA202}"/>
              </a:ext>
            </a:extLst>
          </p:cNvPr>
          <p:cNvSpPr/>
          <p:nvPr/>
        </p:nvSpPr>
        <p:spPr>
          <a:xfrm>
            <a:off x="5443368" y="3018128"/>
            <a:ext cx="800322" cy="4999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Prof. Dr. Ir.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Agus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Taufik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Mulyono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, MT., IPU., ASEAN., Eng.</a:t>
            </a:r>
            <a:endParaRPr kumimoji="0" lang="en-ID" sz="700" b="0" i="0" u="none" strike="noStrike" kern="1200" cap="none" spc="0" normalizeH="0" baseline="0" noProof="0" dirty="0">
              <a:ln>
                <a:noFill/>
              </a:ln>
              <a:solidFill>
                <a:srgbClr val="354878"/>
              </a:solidFill>
              <a:effectLst/>
              <a:uLnTx/>
              <a:uFillTx/>
              <a:latin typeface="Franklin Gothic Book" panose="020B050302010202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64C74F1-B4AA-4663-9D8E-6B49695AC106}"/>
              </a:ext>
            </a:extLst>
          </p:cNvPr>
          <p:cNvSpPr/>
          <p:nvPr/>
        </p:nvSpPr>
        <p:spPr>
          <a:xfrm>
            <a:off x="6324180" y="3014563"/>
            <a:ext cx="795226" cy="5086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Ir. Tri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Widjajanto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, MT.</a:t>
            </a:r>
            <a:endParaRPr kumimoji="0" lang="en-ID" sz="900" b="0" i="0" u="none" strike="noStrike" kern="1200" cap="none" spc="0" normalizeH="0" baseline="0" noProof="0" dirty="0">
              <a:ln>
                <a:noFill/>
              </a:ln>
              <a:solidFill>
                <a:srgbClr val="354878"/>
              </a:solidFill>
              <a:effectLst/>
              <a:uLnTx/>
              <a:uFillTx/>
              <a:latin typeface="Franklin Gothic Book" panose="020B050302010202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E13096F-08F2-451B-A2F0-79D3C1CE2054}"/>
              </a:ext>
            </a:extLst>
          </p:cNvPr>
          <p:cNvSpPr/>
          <p:nvPr/>
        </p:nvSpPr>
        <p:spPr>
          <a:xfrm>
            <a:off x="7142923" y="3024015"/>
            <a:ext cx="921401" cy="5086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00" b="0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Prof. Dr. Manlian Ronald Adventus Simanjuntak, ST., MT., D.Min</a:t>
            </a:r>
            <a:endParaRPr kumimoji="0" lang="en-ID" sz="800" b="0" i="0" u="none" strike="noStrike" kern="1200" cap="none" spc="0" normalizeH="0" baseline="0" noProof="0" dirty="0">
              <a:ln>
                <a:noFill/>
              </a:ln>
              <a:solidFill>
                <a:srgbClr val="354878"/>
              </a:solidFill>
              <a:effectLst/>
              <a:uLnTx/>
              <a:uFillTx/>
              <a:latin typeface="Franklin Gothic Book" panose="020B050302010202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3A1B480-C54A-4FB0-9CE6-31148FFA8081}"/>
              </a:ext>
            </a:extLst>
          </p:cNvPr>
          <p:cNvSpPr/>
          <p:nvPr/>
        </p:nvSpPr>
        <p:spPr>
          <a:xfrm>
            <a:off x="8090895" y="2431770"/>
            <a:ext cx="800321" cy="585849"/>
          </a:xfrm>
          <a:prstGeom prst="rect">
            <a:avLst/>
          </a:prstGeom>
          <a:solidFill>
            <a:srgbClr val="1E3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DANG 6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Demi Cond" panose="020B07060304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Program </a:t>
            </a:r>
            <a:r>
              <a:rPr kumimoji="0" lang="en-US" sz="7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Rencana</a:t>
            </a: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7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Kerja</a:t>
            </a: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 dan </a:t>
            </a:r>
            <a:r>
              <a:rPr kumimoji="0" lang="en-US" sz="7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Monev</a:t>
            </a:r>
            <a:endParaRPr kumimoji="0" lang="en-ID" sz="7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B0503020102020204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B050302010202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C49B3AC-0A28-47D9-AF51-ED9BB8BD26E8}"/>
              </a:ext>
            </a:extLst>
          </p:cNvPr>
          <p:cNvSpPr/>
          <p:nvPr/>
        </p:nvSpPr>
        <p:spPr>
          <a:xfrm>
            <a:off x="8087841" y="3007940"/>
            <a:ext cx="803375" cy="5086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00" b="0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Dr. Ir. Syarif Burhanuddin, M.Eng, IPU</a:t>
            </a:r>
            <a:endParaRPr kumimoji="0" lang="en-ID" sz="800" b="0" i="0" u="none" strike="noStrike" kern="1200" cap="none" spc="0" normalizeH="0" baseline="0" noProof="0" dirty="0">
              <a:ln>
                <a:noFill/>
              </a:ln>
              <a:solidFill>
                <a:srgbClr val="354878"/>
              </a:solidFill>
              <a:effectLst/>
              <a:uLnTx/>
              <a:uFillTx/>
              <a:latin typeface="Franklin Gothic Book" panose="020B050302010202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C470B02-4FE4-4F21-B9C8-76A0180F77E5}"/>
              </a:ext>
            </a:extLst>
          </p:cNvPr>
          <p:cNvSpPr/>
          <p:nvPr/>
        </p:nvSpPr>
        <p:spPr>
          <a:xfrm>
            <a:off x="3682765" y="2434827"/>
            <a:ext cx="800321" cy="585849"/>
          </a:xfrm>
          <a:prstGeom prst="rect">
            <a:avLst/>
          </a:prstGeom>
          <a:solidFill>
            <a:srgbClr val="1E3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DANG 1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Demi Cond" panose="020B07060304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R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egistrasi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B0503020102020204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 panose="020B050302010202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3471F794-6338-4981-8CC1-CFCD06F8416F}"/>
              </a:ext>
            </a:extLst>
          </p:cNvPr>
          <p:cNvCxnSpPr/>
          <p:nvPr/>
        </p:nvCxnSpPr>
        <p:spPr>
          <a:xfrm flipV="1">
            <a:off x="4081938" y="2281435"/>
            <a:ext cx="0" cy="150334"/>
          </a:xfrm>
          <a:prstGeom prst="line">
            <a:avLst/>
          </a:prstGeom>
          <a:ln w="19050">
            <a:solidFill>
              <a:srgbClr val="3548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6D9AB66-EB8E-4B33-B442-1EACACB2C007}"/>
              </a:ext>
            </a:extLst>
          </p:cNvPr>
          <p:cNvCxnSpPr/>
          <p:nvPr/>
        </p:nvCxnSpPr>
        <p:spPr>
          <a:xfrm flipV="1">
            <a:off x="4963423" y="2281435"/>
            <a:ext cx="0" cy="150334"/>
          </a:xfrm>
          <a:prstGeom prst="line">
            <a:avLst/>
          </a:prstGeom>
          <a:ln w="19050">
            <a:solidFill>
              <a:srgbClr val="3548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083CCC17-2C2B-47DB-AC14-06EA5992FFEA}"/>
              </a:ext>
            </a:extLst>
          </p:cNvPr>
          <p:cNvCxnSpPr/>
          <p:nvPr/>
        </p:nvCxnSpPr>
        <p:spPr>
          <a:xfrm flipV="1">
            <a:off x="5833076" y="2281435"/>
            <a:ext cx="0" cy="150334"/>
          </a:xfrm>
          <a:prstGeom prst="line">
            <a:avLst/>
          </a:prstGeom>
          <a:ln w="19050">
            <a:solidFill>
              <a:srgbClr val="3548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CDCB9B4-0C14-4EDA-8746-1293E7C9EA05}"/>
              </a:ext>
            </a:extLst>
          </p:cNvPr>
          <p:cNvCxnSpPr/>
          <p:nvPr/>
        </p:nvCxnSpPr>
        <p:spPr>
          <a:xfrm flipV="1">
            <a:off x="6714561" y="2281435"/>
            <a:ext cx="0" cy="150334"/>
          </a:xfrm>
          <a:prstGeom prst="line">
            <a:avLst/>
          </a:prstGeom>
          <a:ln w="19050">
            <a:solidFill>
              <a:srgbClr val="3548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2BFC9E08-C620-442E-AA73-7FADD7060B54}"/>
              </a:ext>
            </a:extLst>
          </p:cNvPr>
          <p:cNvCxnSpPr/>
          <p:nvPr/>
        </p:nvCxnSpPr>
        <p:spPr>
          <a:xfrm flipV="1">
            <a:off x="7613794" y="2281435"/>
            <a:ext cx="0" cy="150334"/>
          </a:xfrm>
          <a:prstGeom prst="line">
            <a:avLst/>
          </a:prstGeom>
          <a:ln w="19050">
            <a:solidFill>
              <a:srgbClr val="3548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6569C70-1F80-40CD-90AE-537515A04BAD}"/>
              </a:ext>
            </a:extLst>
          </p:cNvPr>
          <p:cNvCxnSpPr/>
          <p:nvPr/>
        </p:nvCxnSpPr>
        <p:spPr>
          <a:xfrm flipV="1">
            <a:off x="8495279" y="2281435"/>
            <a:ext cx="0" cy="150334"/>
          </a:xfrm>
          <a:prstGeom prst="line">
            <a:avLst/>
          </a:prstGeom>
          <a:ln w="19050">
            <a:solidFill>
              <a:srgbClr val="3548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ECB52A90-BF06-452D-BE70-FFCB521BC118}"/>
              </a:ext>
            </a:extLst>
          </p:cNvPr>
          <p:cNvCxnSpPr>
            <a:cxnSpLocks/>
          </p:cNvCxnSpPr>
          <p:nvPr/>
        </p:nvCxnSpPr>
        <p:spPr>
          <a:xfrm>
            <a:off x="4071832" y="2281704"/>
            <a:ext cx="4431088" cy="0"/>
          </a:xfrm>
          <a:prstGeom prst="line">
            <a:avLst/>
          </a:prstGeom>
          <a:ln w="19050">
            <a:solidFill>
              <a:srgbClr val="3548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49F3C209-B29C-41D3-80F4-BD87C5A16B60}"/>
              </a:ext>
            </a:extLst>
          </p:cNvPr>
          <p:cNvCxnSpPr/>
          <p:nvPr/>
        </p:nvCxnSpPr>
        <p:spPr>
          <a:xfrm flipV="1">
            <a:off x="6285101" y="2131100"/>
            <a:ext cx="0" cy="150334"/>
          </a:xfrm>
          <a:prstGeom prst="line">
            <a:avLst/>
          </a:prstGeom>
          <a:ln w="19050">
            <a:solidFill>
              <a:srgbClr val="3548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8D2769B-6485-4C5E-A5F2-08020DA28B2F}"/>
              </a:ext>
            </a:extLst>
          </p:cNvPr>
          <p:cNvCxnSpPr>
            <a:cxnSpLocks/>
          </p:cNvCxnSpPr>
          <p:nvPr/>
        </p:nvCxnSpPr>
        <p:spPr>
          <a:xfrm flipV="1">
            <a:off x="6285101" y="1198429"/>
            <a:ext cx="0" cy="524472"/>
          </a:xfrm>
          <a:prstGeom prst="line">
            <a:avLst/>
          </a:prstGeom>
          <a:ln w="19050">
            <a:solidFill>
              <a:srgbClr val="3548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914128C7-21C0-41FF-B25E-6EDB44AF6AEB}"/>
              </a:ext>
            </a:extLst>
          </p:cNvPr>
          <p:cNvCxnSpPr>
            <a:cxnSpLocks/>
          </p:cNvCxnSpPr>
          <p:nvPr/>
        </p:nvCxnSpPr>
        <p:spPr>
          <a:xfrm flipH="1">
            <a:off x="2307742" y="1062166"/>
            <a:ext cx="3205452" cy="0"/>
          </a:xfrm>
          <a:prstGeom prst="line">
            <a:avLst/>
          </a:prstGeom>
          <a:ln w="19050">
            <a:solidFill>
              <a:srgbClr val="3548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981D5F73-92D2-4D7E-8920-5485372A9D99}"/>
              </a:ext>
            </a:extLst>
          </p:cNvPr>
          <p:cNvSpPr/>
          <p:nvPr/>
        </p:nvSpPr>
        <p:spPr>
          <a:xfrm>
            <a:off x="1392941" y="1822109"/>
            <a:ext cx="1853680" cy="235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Ir. Abdul </a:t>
            </a:r>
            <a:r>
              <a:rPr kumimoji="0" 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Muis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, M.T.</a:t>
            </a:r>
            <a:endParaRPr kumimoji="0" lang="en-ID" sz="900" b="1" i="0" u="none" strike="noStrike" kern="1200" cap="none" spc="0" normalizeH="0" baseline="0" noProof="0" dirty="0">
              <a:ln>
                <a:noFill/>
              </a:ln>
              <a:solidFill>
                <a:srgbClr val="354878"/>
              </a:solidFill>
              <a:effectLst/>
              <a:uLnTx/>
              <a:uFillTx/>
              <a:latin typeface="Franklin Gothic Book" panose="020B050302010202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F190E07-E2B8-45E0-80B5-6612E98C4933}"/>
              </a:ext>
            </a:extLst>
          </p:cNvPr>
          <p:cNvSpPr/>
          <p:nvPr/>
        </p:nvSpPr>
        <p:spPr>
          <a:xfrm>
            <a:off x="1215813" y="1577155"/>
            <a:ext cx="2207933" cy="235574"/>
          </a:xfrm>
          <a:prstGeom prst="rect">
            <a:avLst/>
          </a:prstGeom>
          <a:solidFill>
            <a:srgbClr val="1E3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rekt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endera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ina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struksi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Demi Cond" panose="020B07060304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333CC6D-FCD2-4B43-AE6C-AF8A9EBCF2A9}"/>
              </a:ext>
            </a:extLst>
          </p:cNvPr>
          <p:cNvSpPr/>
          <p:nvPr/>
        </p:nvSpPr>
        <p:spPr>
          <a:xfrm>
            <a:off x="1236683" y="4122937"/>
            <a:ext cx="2166195" cy="1920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Dewi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Chomistriana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, ST,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M.Sc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354878"/>
              </a:solidFill>
              <a:effectLst/>
              <a:uLnTx/>
              <a:uFillTx/>
              <a:latin typeface="Franklin Gothic Book" panose="020B050302010202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590C65A-7F87-43AA-9792-ABF2FA66A82F}"/>
              </a:ext>
            </a:extLst>
          </p:cNvPr>
          <p:cNvSpPr/>
          <p:nvPr/>
        </p:nvSpPr>
        <p:spPr>
          <a:xfrm>
            <a:off x="1392941" y="3847157"/>
            <a:ext cx="1853680" cy="235575"/>
          </a:xfrm>
          <a:prstGeom prst="rect">
            <a:avLst/>
          </a:prstGeom>
          <a:solidFill>
            <a:srgbClr val="1E3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kretari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LPJK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2E4319DE-D25A-447F-A3CD-F579053DB2F9}"/>
              </a:ext>
            </a:extLst>
          </p:cNvPr>
          <p:cNvSpPr/>
          <p:nvPr/>
        </p:nvSpPr>
        <p:spPr>
          <a:xfrm>
            <a:off x="3314113" y="4642682"/>
            <a:ext cx="2022181" cy="2168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Ahmad</a:t>
            </a: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it-IT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Agus</a:t>
            </a: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it-IT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Fitrah</a:t>
            </a: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Calibri" panose="020F0502020204030204" pitchFamily="34" charset="0"/>
                <a:cs typeface="Times New Roman" panose="02020603050405020304" pitchFamily="18" charset="0"/>
              </a:rPr>
              <a:t> Akbar, ST., MT.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282F034-674B-4284-B452-6AF616D08F26}"/>
              </a:ext>
            </a:extLst>
          </p:cNvPr>
          <p:cNvSpPr/>
          <p:nvPr/>
        </p:nvSpPr>
        <p:spPr>
          <a:xfrm>
            <a:off x="3398364" y="4380051"/>
            <a:ext cx="1853680" cy="235575"/>
          </a:xfrm>
          <a:prstGeom prst="rect">
            <a:avLst/>
          </a:prstGeom>
          <a:solidFill>
            <a:srgbClr val="1E3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pala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ag.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ministrasi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LPJK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5533B57B-5F16-4C9F-B680-6799B3D521BE}"/>
              </a:ext>
            </a:extLst>
          </p:cNvPr>
          <p:cNvCxnSpPr>
            <a:cxnSpLocks/>
          </p:cNvCxnSpPr>
          <p:nvPr/>
        </p:nvCxnSpPr>
        <p:spPr>
          <a:xfrm>
            <a:off x="2307743" y="1062167"/>
            <a:ext cx="0" cy="547719"/>
          </a:xfrm>
          <a:prstGeom prst="line">
            <a:avLst/>
          </a:prstGeom>
          <a:ln w="19050">
            <a:solidFill>
              <a:srgbClr val="3548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E2E17FD3-6716-4730-B5CA-617B8E4E8D9C}"/>
              </a:ext>
            </a:extLst>
          </p:cNvPr>
          <p:cNvCxnSpPr>
            <a:cxnSpLocks/>
          </p:cNvCxnSpPr>
          <p:nvPr/>
        </p:nvCxnSpPr>
        <p:spPr>
          <a:xfrm flipV="1">
            <a:off x="6285101" y="3653307"/>
            <a:ext cx="0" cy="311051"/>
          </a:xfrm>
          <a:prstGeom prst="line">
            <a:avLst/>
          </a:prstGeom>
          <a:ln w="19050">
            <a:solidFill>
              <a:srgbClr val="3548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252F5D26-FDC4-4FFD-B1DB-4C77CBF60BEF}"/>
              </a:ext>
            </a:extLst>
          </p:cNvPr>
          <p:cNvCxnSpPr>
            <a:cxnSpLocks/>
          </p:cNvCxnSpPr>
          <p:nvPr/>
        </p:nvCxnSpPr>
        <p:spPr>
          <a:xfrm flipH="1">
            <a:off x="3235673" y="3964357"/>
            <a:ext cx="3049429" cy="0"/>
          </a:xfrm>
          <a:prstGeom prst="line">
            <a:avLst/>
          </a:prstGeom>
          <a:ln w="19050">
            <a:solidFill>
              <a:srgbClr val="3548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1731DC06-FDFB-4BA9-9EBF-5EB9873A55A1}"/>
              </a:ext>
            </a:extLst>
          </p:cNvPr>
          <p:cNvCxnSpPr>
            <a:cxnSpLocks/>
          </p:cNvCxnSpPr>
          <p:nvPr/>
        </p:nvCxnSpPr>
        <p:spPr>
          <a:xfrm>
            <a:off x="2307743" y="2057683"/>
            <a:ext cx="0" cy="1789472"/>
          </a:xfrm>
          <a:prstGeom prst="line">
            <a:avLst/>
          </a:prstGeom>
          <a:ln w="19050">
            <a:solidFill>
              <a:srgbClr val="3548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BF549743-0417-42DA-BA0A-AF1B4EFFBBD7}"/>
              </a:ext>
            </a:extLst>
          </p:cNvPr>
          <p:cNvCxnSpPr>
            <a:cxnSpLocks/>
          </p:cNvCxnSpPr>
          <p:nvPr/>
        </p:nvCxnSpPr>
        <p:spPr>
          <a:xfrm>
            <a:off x="2307743" y="4311841"/>
            <a:ext cx="0" cy="532894"/>
          </a:xfrm>
          <a:prstGeom prst="line">
            <a:avLst/>
          </a:prstGeom>
          <a:ln w="19050">
            <a:solidFill>
              <a:srgbClr val="3548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A426755B-4A6B-42BC-B698-E6CC679782C0}"/>
              </a:ext>
            </a:extLst>
          </p:cNvPr>
          <p:cNvCxnSpPr>
            <a:cxnSpLocks/>
          </p:cNvCxnSpPr>
          <p:nvPr/>
        </p:nvCxnSpPr>
        <p:spPr>
          <a:xfrm flipH="1">
            <a:off x="2307742" y="4500859"/>
            <a:ext cx="1090622" cy="0"/>
          </a:xfrm>
          <a:prstGeom prst="line">
            <a:avLst/>
          </a:prstGeom>
          <a:ln w="19050">
            <a:solidFill>
              <a:srgbClr val="3548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6795043D-3168-4DD6-A6C1-8FB1D670C85F}"/>
              </a:ext>
            </a:extLst>
          </p:cNvPr>
          <p:cNvSpPr/>
          <p:nvPr/>
        </p:nvSpPr>
        <p:spPr>
          <a:xfrm>
            <a:off x="1392941" y="5073846"/>
            <a:ext cx="1853680" cy="7769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 panose="020B050302010202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EEA2962B-DBD7-4EA7-9278-D014E3F3EDE7}"/>
              </a:ext>
            </a:extLst>
          </p:cNvPr>
          <p:cNvSpPr/>
          <p:nvPr/>
        </p:nvSpPr>
        <p:spPr>
          <a:xfrm>
            <a:off x="1392941" y="4844736"/>
            <a:ext cx="1853680" cy="235575"/>
          </a:xfrm>
          <a:prstGeom prst="rect">
            <a:avLst/>
          </a:prstGeom>
          <a:solidFill>
            <a:srgbClr val="1E3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lompok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bata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 Cond" panose="020B07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ngsional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Demi Cond" panose="020B07060304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F93083F0-EC39-4CD1-BF12-B3A0625D1E09}"/>
              </a:ext>
            </a:extLst>
          </p:cNvPr>
          <p:cNvSpPr/>
          <p:nvPr/>
        </p:nvSpPr>
        <p:spPr>
          <a:xfrm>
            <a:off x="9281838" y="1609886"/>
            <a:ext cx="1546235" cy="2043419"/>
          </a:xfrm>
          <a:prstGeom prst="rect">
            <a:avLst/>
          </a:prstGeom>
          <a:solidFill>
            <a:srgbClr val="354878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ewan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engawa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54878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1. </a:t>
            </a:r>
            <a:r>
              <a:rPr kumimoji="0" lang="en-US" sz="85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irjen</a:t>
            </a: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Bina Konstruks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2. Ir. </a:t>
            </a:r>
            <a:r>
              <a:rPr kumimoji="0" lang="en-US" sz="85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Widiarto</a:t>
            </a: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. Sp.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3. </a:t>
            </a:r>
            <a:r>
              <a:rPr kumimoji="0" lang="en-US" sz="85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es</a:t>
            </a: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Kementerian BUM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4. </a:t>
            </a:r>
            <a:r>
              <a:rPr kumimoji="0" lang="en-US" sz="85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eputi</a:t>
            </a: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</a:t>
            </a:r>
            <a:r>
              <a:rPr kumimoji="0" lang="en-US" sz="85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Bidang</a:t>
            </a: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</a:t>
            </a:r>
            <a:r>
              <a:rPr kumimoji="0" lang="en-US" sz="85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Hukum</a:t>
            </a: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</a:t>
            </a:r>
            <a:r>
              <a:rPr kumimoji="0" lang="en-US" sz="85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an</a:t>
            </a:r>
            <a:endParaRPr kumimoji="0" lang="en-US" sz="850" b="1" i="0" u="none" strike="noStrike" kern="1200" cap="none" spc="0" normalizeH="0" baseline="0" noProof="0" dirty="0">
              <a:ln>
                <a:noFill/>
              </a:ln>
              <a:solidFill>
                <a:srgbClr val="354878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   </a:t>
            </a:r>
            <a:r>
              <a:rPr kumimoji="0" lang="en-US" sz="85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enyelesaian</a:t>
            </a: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</a:t>
            </a:r>
            <a:r>
              <a:rPr kumimoji="0" lang="en-US" sz="85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anggah</a:t>
            </a:r>
            <a:endParaRPr kumimoji="0" lang="en-US" sz="850" b="1" i="0" u="none" strike="noStrike" kern="1200" cap="none" spc="0" normalizeH="0" baseline="0" noProof="0" dirty="0">
              <a:ln>
                <a:noFill/>
              </a:ln>
              <a:solidFill>
                <a:srgbClr val="354878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   LKP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5. </a:t>
            </a:r>
            <a:r>
              <a:rPr kumimoji="0" lang="en-US" sz="85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taf</a:t>
            </a: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Khusus </a:t>
            </a:r>
            <a:r>
              <a:rPr kumimoji="0" lang="en-US" sz="85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Bidang</a:t>
            </a: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H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   </a:t>
            </a:r>
            <a:r>
              <a:rPr kumimoji="0" lang="en-US" sz="85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Kemenhub</a:t>
            </a:r>
            <a:endParaRPr kumimoji="0" lang="en-US" sz="850" b="1" i="0" u="none" strike="noStrike" kern="1200" cap="none" spc="0" normalizeH="0" baseline="0" noProof="0" dirty="0">
              <a:ln>
                <a:noFill/>
              </a:ln>
              <a:solidFill>
                <a:srgbClr val="354878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6. Ir. Ruslan </a:t>
            </a:r>
            <a:r>
              <a:rPr kumimoji="0" lang="en-US" sz="85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Rivai</a:t>
            </a: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, M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7. Dr. </a:t>
            </a:r>
            <a:r>
              <a:rPr kumimoji="0" lang="en-US" sz="85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igit</a:t>
            </a: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</a:t>
            </a:r>
            <a:r>
              <a:rPr kumimoji="0" lang="en-US" sz="85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Adjar</a:t>
            </a:r>
            <a:r>
              <a:rPr kumimoji="0" lang="en-US" sz="85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 Susilo, MM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A53C5D2A-2347-4EEC-A850-505CA60129D5}"/>
              </a:ext>
            </a:extLst>
          </p:cNvPr>
          <p:cNvCxnSpPr>
            <a:cxnSpLocks/>
          </p:cNvCxnSpPr>
          <p:nvPr/>
        </p:nvCxnSpPr>
        <p:spPr>
          <a:xfrm flipH="1">
            <a:off x="7057008" y="1062166"/>
            <a:ext cx="2995161" cy="0"/>
          </a:xfrm>
          <a:prstGeom prst="line">
            <a:avLst/>
          </a:prstGeom>
          <a:ln w="19050">
            <a:solidFill>
              <a:srgbClr val="3548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73FE9F5A-58FF-40BA-93FC-C38B625B7F97}"/>
              </a:ext>
            </a:extLst>
          </p:cNvPr>
          <p:cNvCxnSpPr>
            <a:cxnSpLocks/>
          </p:cNvCxnSpPr>
          <p:nvPr/>
        </p:nvCxnSpPr>
        <p:spPr>
          <a:xfrm>
            <a:off x="10052169" y="1062167"/>
            <a:ext cx="0" cy="547719"/>
          </a:xfrm>
          <a:prstGeom prst="line">
            <a:avLst/>
          </a:prstGeom>
          <a:ln w="19050"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0C62FBE5-372C-4F04-A1F8-67C4ECBD4524}"/>
              </a:ext>
            </a:extLst>
          </p:cNvPr>
          <p:cNvCxnSpPr>
            <a:cxnSpLocks/>
          </p:cNvCxnSpPr>
          <p:nvPr/>
        </p:nvCxnSpPr>
        <p:spPr>
          <a:xfrm flipH="1">
            <a:off x="8969325" y="1828574"/>
            <a:ext cx="312513" cy="0"/>
          </a:xfrm>
          <a:prstGeom prst="line">
            <a:avLst/>
          </a:prstGeom>
          <a:ln w="19050">
            <a:solidFill>
              <a:srgbClr val="3548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C45911FD-63C1-4354-AEB1-74BE41346A86}"/>
              </a:ext>
            </a:extLst>
          </p:cNvPr>
          <p:cNvSpPr txBox="1"/>
          <p:nvPr/>
        </p:nvSpPr>
        <p:spPr>
          <a:xfrm>
            <a:off x="5843529" y="4439214"/>
            <a:ext cx="5790591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8925" marR="0" lvl="0" indent="-2889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Pembentuka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 LPJK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berdasarka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Perme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 PUPR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Nomo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 9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Tahu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 2020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sebagai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Lembaga Non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Struktural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di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bawah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 Menteri PUPR.</a:t>
            </a:r>
          </a:p>
          <a:p>
            <a:pPr marL="288925" marR="0" lvl="0" indent="-2889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Penetapa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Penguru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 LPJK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Period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 2021-2024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berdasarka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Kepme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 PUPR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Nomo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 1792/KPTS/M/2020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"/>
              <a:ea typeface="Century Gothic" charset="0"/>
              <a:cs typeface="Century Gothic" charset="0"/>
            </a:endParaRPr>
          </a:p>
        </p:txBody>
      </p:sp>
      <p:pic>
        <p:nvPicPr>
          <p:cNvPr id="2" name="Picture 1" descr="lgo sigap.png">
            <a:extLst>
              <a:ext uri="{FF2B5EF4-FFF2-40B4-BE49-F238E27FC236}">
                <a16:creationId xmlns:a16="http://schemas.microsoft.com/office/drawing/2014/main" id="{F5110F72-A932-CBDC-EEB4-A35F35F3E3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3" name="Round Same Side Corner Rectangle 1">
            <a:extLst>
              <a:ext uri="{FF2B5EF4-FFF2-40B4-BE49-F238E27FC236}">
                <a16:creationId xmlns:a16="http://schemas.microsoft.com/office/drawing/2014/main" id="{AAF38F87-4499-1E1A-5C8A-3412127FE5B0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BACB6B5-BEE8-B064-CA80-4331C2C909A4}"/>
              </a:ext>
            </a:extLst>
          </p:cNvPr>
          <p:cNvSpPr txBox="1">
            <a:spLocks/>
          </p:cNvSpPr>
          <p:nvPr/>
        </p:nvSpPr>
        <p:spPr>
          <a:xfrm>
            <a:off x="318804" y="169194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3200" b="1" dirty="0">
                <a:solidFill>
                  <a:prstClr val="black"/>
                </a:solidFill>
                <a:latin typeface="Segoe UI"/>
              </a:rPr>
              <a:t>STRUKTUR ORGANISASI LPJK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EEA5E23-8D39-15D4-0FEF-5D904A0577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EDA3B314-2C13-C8D0-08B7-850A14C8EE6D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C6EB805-6E28-8E37-AA15-EA8FE1A0A587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69684570-88B1-9A7E-E1A0-9D7937072410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CA03194A-69C3-E6E9-5E85-D501692B1808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DFB4468-51DD-DF2D-11FA-95EFFDD1D5B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275189972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806;p27">
            <a:extLst>
              <a:ext uri="{FF2B5EF4-FFF2-40B4-BE49-F238E27FC236}">
                <a16:creationId xmlns:a16="http://schemas.microsoft.com/office/drawing/2014/main" id="{232084EB-0865-A588-3379-1FED8C035EDA}"/>
              </a:ext>
            </a:extLst>
          </p:cNvPr>
          <p:cNvSpPr/>
          <p:nvPr/>
        </p:nvSpPr>
        <p:spPr>
          <a:xfrm>
            <a:off x="738690" y="1454560"/>
            <a:ext cx="4128459" cy="9601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txBody>
          <a:bodyPr spcFirstLastPara="1" wrap="square" lIns="121900" tIns="60950" rIns="121900" bIns="609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2400"/>
              <a:buFont typeface="Calibri"/>
              <a:buNone/>
              <a:tabLst/>
              <a:defRPr/>
            </a:pP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sp>
        <p:nvSpPr>
          <p:cNvPr id="4" name="Google Shape;807;p27">
            <a:extLst>
              <a:ext uri="{FF2B5EF4-FFF2-40B4-BE49-F238E27FC236}">
                <a16:creationId xmlns:a16="http://schemas.microsoft.com/office/drawing/2014/main" id="{DE25BA5B-0CE0-7B47-1328-9B6EF42A5949}"/>
              </a:ext>
            </a:extLst>
          </p:cNvPr>
          <p:cNvSpPr/>
          <p:nvPr/>
        </p:nvSpPr>
        <p:spPr>
          <a:xfrm>
            <a:off x="769761" y="3722114"/>
            <a:ext cx="4128459" cy="9601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txBody>
          <a:bodyPr spcFirstLastPara="1" wrap="square" lIns="121900" tIns="60950" rIns="121900" bIns="609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2400"/>
              <a:buFont typeface="Calibri"/>
              <a:buNone/>
              <a:tabLst/>
              <a:defRPr/>
            </a:pP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sp>
        <p:nvSpPr>
          <p:cNvPr id="13" name="Google Shape;809;p27">
            <a:extLst>
              <a:ext uri="{FF2B5EF4-FFF2-40B4-BE49-F238E27FC236}">
                <a16:creationId xmlns:a16="http://schemas.microsoft.com/office/drawing/2014/main" id="{C21E5C20-C628-C949-A8CD-2D36EA3B969A}"/>
              </a:ext>
            </a:extLst>
          </p:cNvPr>
          <p:cNvSpPr/>
          <p:nvPr/>
        </p:nvSpPr>
        <p:spPr>
          <a:xfrm>
            <a:off x="5056911" y="5718035"/>
            <a:ext cx="6012566" cy="9601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121900" tIns="60950" rIns="121900" bIns="609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2400"/>
              <a:buFont typeface="Calibri"/>
              <a:buNone/>
              <a:tabLst/>
              <a:defRPr/>
            </a:pP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grpSp>
        <p:nvGrpSpPr>
          <p:cNvPr id="14" name="Google Shape;810;p27">
            <a:extLst>
              <a:ext uri="{FF2B5EF4-FFF2-40B4-BE49-F238E27FC236}">
                <a16:creationId xmlns:a16="http://schemas.microsoft.com/office/drawing/2014/main" id="{AD73A5B7-C376-8870-49F6-1BEBD5708E06}"/>
              </a:ext>
            </a:extLst>
          </p:cNvPr>
          <p:cNvGrpSpPr/>
          <p:nvPr/>
        </p:nvGrpSpPr>
        <p:grpSpPr>
          <a:xfrm>
            <a:off x="738690" y="1667713"/>
            <a:ext cx="3988443" cy="1625375"/>
            <a:chOff x="2227884" y="1330362"/>
            <a:chExt cx="2835932" cy="1219033"/>
          </a:xfrm>
        </p:grpSpPr>
        <p:sp>
          <p:nvSpPr>
            <p:cNvPr id="17" name="Google Shape;811;p27">
              <a:extLst>
                <a:ext uri="{FF2B5EF4-FFF2-40B4-BE49-F238E27FC236}">
                  <a16:creationId xmlns:a16="http://schemas.microsoft.com/office/drawing/2014/main" id="{3D41E0A4-AA2A-2047-00D3-0A2C15A6BFFD}"/>
                </a:ext>
              </a:extLst>
            </p:cNvPr>
            <p:cNvSpPr txBox="1"/>
            <p:nvPr/>
          </p:nvSpPr>
          <p:spPr>
            <a:xfrm>
              <a:off x="2227884" y="1649178"/>
              <a:ext cx="2835932" cy="90021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304792" marR="0" lvl="0" indent="-304792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600"/>
                <a:buFont typeface="Calibri"/>
                <a:buAutoNum type="alphaLcPeriod"/>
                <a:tabLst/>
                <a:defRPr/>
              </a:pP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mengusulka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skema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sertifikasi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;</a:t>
              </a:r>
              <a:endParaRPr kumimoji="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04792" marR="0" lvl="0" indent="-304792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600"/>
                <a:buFont typeface="Calibri"/>
                <a:buAutoNum type="alphaLcPeriod"/>
                <a:tabLst/>
                <a:defRPr/>
              </a:pP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mendapatka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pembinaa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pengembanga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kapasitas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dan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kualitas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sumber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daya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.</a:t>
              </a:r>
              <a:endParaRPr kumimoji="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8" name="Google Shape;812;p27">
              <a:extLst>
                <a:ext uri="{FF2B5EF4-FFF2-40B4-BE49-F238E27FC236}">
                  <a16:creationId xmlns:a16="http://schemas.microsoft.com/office/drawing/2014/main" id="{A5FBA298-AB3A-E72E-B5E6-5AF5265C4B75}"/>
                </a:ext>
              </a:extLst>
            </p:cNvPr>
            <p:cNvSpPr txBox="1"/>
            <p:nvPr/>
          </p:nvSpPr>
          <p:spPr>
            <a:xfrm>
              <a:off x="2227884" y="1330362"/>
              <a:ext cx="2835932" cy="30005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600"/>
                <a:buFont typeface="Calibri"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Hak</a:t>
              </a:r>
              <a:endParaRPr kumimoji="0" sz="20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endParaRPr>
            </a:p>
          </p:txBody>
        </p:sp>
      </p:grpSp>
      <p:grpSp>
        <p:nvGrpSpPr>
          <p:cNvPr id="21" name="Google Shape;813;p27">
            <a:extLst>
              <a:ext uri="{FF2B5EF4-FFF2-40B4-BE49-F238E27FC236}">
                <a16:creationId xmlns:a16="http://schemas.microsoft.com/office/drawing/2014/main" id="{531BAF8E-3BFC-98A7-780E-12A8160E1153}"/>
              </a:ext>
            </a:extLst>
          </p:cNvPr>
          <p:cNvGrpSpPr/>
          <p:nvPr/>
        </p:nvGrpSpPr>
        <p:grpSpPr>
          <a:xfrm>
            <a:off x="5069308" y="1663682"/>
            <a:ext cx="6000169" cy="3620836"/>
            <a:chOff x="2251370" y="639430"/>
            <a:chExt cx="3145798" cy="2715627"/>
          </a:xfrm>
        </p:grpSpPr>
        <p:sp>
          <p:nvSpPr>
            <p:cNvPr id="22" name="Google Shape;814;p27">
              <a:extLst>
                <a:ext uri="{FF2B5EF4-FFF2-40B4-BE49-F238E27FC236}">
                  <a16:creationId xmlns:a16="http://schemas.microsoft.com/office/drawing/2014/main" id="{B826ED69-C6B0-7AE8-E38A-123001C1130B}"/>
                </a:ext>
              </a:extLst>
            </p:cNvPr>
            <p:cNvSpPr txBox="1"/>
            <p:nvPr/>
          </p:nvSpPr>
          <p:spPr>
            <a:xfrm>
              <a:off x="2251370" y="1000596"/>
              <a:ext cx="3145798" cy="235446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304792" marR="0" lvl="0" indent="-304792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600"/>
                <a:buFont typeface="Calibri"/>
                <a:buAutoNum type="alphaLcPeriod"/>
                <a:tabLst/>
                <a:defRPr/>
              </a:pP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menyampaika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lapora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kinerja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LSBU;</a:t>
              </a:r>
              <a:endParaRPr kumimoji="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04792" marR="0" lvl="0" indent="-304792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600"/>
                <a:buFont typeface="Calibri"/>
                <a:buAutoNum type="alphaLcPeriod"/>
                <a:tabLst/>
                <a:defRPr/>
              </a:pP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menyampaika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lapora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keuanga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yang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telah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diaudit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kantor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akunta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publik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yang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memiliki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izi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sesuai dengan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ketentua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peratura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perundang-undanga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; </a:t>
              </a:r>
              <a:endParaRPr kumimoji="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04792" marR="0" lvl="0" indent="-304792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600"/>
                <a:buFont typeface="Calibri"/>
                <a:buAutoNum type="alphaLcPeriod"/>
                <a:tabLst/>
                <a:defRPr/>
              </a:pP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mengintergrasika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sistem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informasi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dan data LSBU dengan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sistem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informasi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Pemerintah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Pusat;</a:t>
              </a:r>
              <a:endParaRPr kumimoji="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04792" marR="0" lvl="0" indent="-304792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600"/>
                <a:buFont typeface="Calibri"/>
                <a:buAutoNum type="alphaLcPeriod"/>
                <a:tabLst/>
                <a:defRPr/>
              </a:pP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menerapka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standar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persyarata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untuk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lembaga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sertifikasi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produk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, proses dan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jasa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.; </a:t>
              </a:r>
              <a:endParaRPr kumimoji="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04792" marR="0" lvl="0" indent="-304792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600"/>
                <a:buFont typeface="Calibri"/>
                <a:buAutoNum type="alphaLcPeriod"/>
                <a:tabLst/>
                <a:defRPr/>
              </a:pP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menyampaika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lapora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kegiata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operasional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; dan</a:t>
              </a:r>
              <a:endParaRPr kumimoji="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04792" marR="0" lvl="0" indent="-304792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600"/>
                <a:buFont typeface="Calibri"/>
                <a:buAutoNum type="alphaLcPeriod"/>
                <a:tabLst/>
                <a:defRPr/>
              </a:pP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melaksanaka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kewajiba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lainnya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sesuai dengan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ketentua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peratura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 </a:t>
              </a:r>
              <a:r>
                <a:rPr kumimoji="0" lang="en-US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perundang-undanga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.</a:t>
              </a:r>
              <a:endParaRPr kumimoji="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3" name="Google Shape;815;p27">
              <a:extLst>
                <a:ext uri="{FF2B5EF4-FFF2-40B4-BE49-F238E27FC236}">
                  <a16:creationId xmlns:a16="http://schemas.microsoft.com/office/drawing/2014/main" id="{72E8B69E-94C7-3A6C-7AA0-D5351DDF5132}"/>
                </a:ext>
              </a:extLst>
            </p:cNvPr>
            <p:cNvSpPr txBox="1"/>
            <p:nvPr/>
          </p:nvSpPr>
          <p:spPr>
            <a:xfrm>
              <a:off x="2274050" y="639430"/>
              <a:ext cx="2835932" cy="30005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600"/>
                <a:buFont typeface="Calibri"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Calibri"/>
                </a:rPr>
                <a:t>Kewajiban</a:t>
              </a:r>
              <a:endParaRPr kumimoji="0" sz="20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endParaRPr>
            </a:p>
          </p:txBody>
        </p:sp>
      </p:grpSp>
      <p:sp>
        <p:nvSpPr>
          <p:cNvPr id="28" name="Google Shape;809;p27">
            <a:extLst>
              <a:ext uri="{FF2B5EF4-FFF2-40B4-BE49-F238E27FC236}">
                <a16:creationId xmlns:a16="http://schemas.microsoft.com/office/drawing/2014/main" id="{DAAF0F78-99F9-C8B7-837B-CFDA4EEA6544}"/>
              </a:ext>
            </a:extLst>
          </p:cNvPr>
          <p:cNvSpPr/>
          <p:nvPr/>
        </p:nvSpPr>
        <p:spPr>
          <a:xfrm>
            <a:off x="5122209" y="1460688"/>
            <a:ext cx="6012566" cy="9601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121900" tIns="60950" rIns="121900" bIns="609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2400"/>
              <a:buFont typeface="Calibri"/>
              <a:buNone/>
              <a:tabLst/>
              <a:defRPr/>
            </a:pP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sp>
        <p:nvSpPr>
          <p:cNvPr id="29" name="Google Shape;541;p20">
            <a:extLst>
              <a:ext uri="{FF2B5EF4-FFF2-40B4-BE49-F238E27FC236}">
                <a16:creationId xmlns:a16="http://schemas.microsoft.com/office/drawing/2014/main" id="{33DCF391-F6E2-65F5-5F98-921CF0B4A230}"/>
              </a:ext>
            </a:extLst>
          </p:cNvPr>
          <p:cNvSpPr/>
          <p:nvPr/>
        </p:nvSpPr>
        <p:spPr>
          <a:xfrm>
            <a:off x="738690" y="1037263"/>
            <a:ext cx="3385675" cy="338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174A9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PP No. 14 </a:t>
            </a:r>
            <a:r>
              <a:rPr kumimoji="0" lang="en-US" sz="1600" b="1" i="1" u="none" strike="noStrike" kern="1200" cap="none" spc="0" normalizeH="0" baseline="0" noProof="0" dirty="0" err="1">
                <a:ln>
                  <a:noFill/>
                </a:ln>
                <a:solidFill>
                  <a:srgbClr val="174A9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Tahun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174A9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 2021</a:t>
            </a:r>
            <a:endParaRPr kumimoji="0" sz="1600" b="0" i="1" u="none" strike="noStrike" kern="1200" cap="none" spc="0" normalizeH="0" baseline="0" noProof="0" dirty="0">
              <a:ln>
                <a:noFill/>
              </a:ln>
              <a:solidFill>
                <a:srgbClr val="174A9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sp>
        <p:nvSpPr>
          <p:cNvPr id="30" name="Google Shape;541;p20">
            <a:extLst>
              <a:ext uri="{FF2B5EF4-FFF2-40B4-BE49-F238E27FC236}">
                <a16:creationId xmlns:a16="http://schemas.microsoft.com/office/drawing/2014/main" id="{8CCF0F8D-3BA2-CB7A-4F41-997602208566}"/>
              </a:ext>
            </a:extLst>
          </p:cNvPr>
          <p:cNvSpPr/>
          <p:nvPr/>
        </p:nvSpPr>
        <p:spPr>
          <a:xfrm>
            <a:off x="9966330" y="1090069"/>
            <a:ext cx="1461379" cy="338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 err="1">
                <a:ln>
                  <a:noFill/>
                </a:ln>
                <a:solidFill>
                  <a:srgbClr val="174A9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Pasal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174A9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Calibri"/>
              </a:rPr>
              <a:t> 41R</a:t>
            </a:r>
            <a:endParaRPr kumimoji="0" sz="1600" b="0" i="1" u="none" strike="noStrike" kern="1200" cap="none" spc="0" normalizeH="0" baseline="0" noProof="0" dirty="0">
              <a:ln>
                <a:noFill/>
              </a:ln>
              <a:solidFill>
                <a:srgbClr val="174A9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sp>
        <p:nvSpPr>
          <p:cNvPr id="11" name="Round Same Side Corner Rectangle 1">
            <a:extLst>
              <a:ext uri="{FF2B5EF4-FFF2-40B4-BE49-F238E27FC236}">
                <a16:creationId xmlns:a16="http://schemas.microsoft.com/office/drawing/2014/main" id="{326C0CF6-95FE-669C-31A1-8DA0B2AA38D3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1186B8BF-2823-F842-876E-319CF9863CA6}"/>
              </a:ext>
            </a:extLst>
          </p:cNvPr>
          <p:cNvSpPr txBox="1">
            <a:spLocks/>
          </p:cNvSpPr>
          <p:nvPr/>
        </p:nvSpPr>
        <p:spPr>
          <a:xfrm>
            <a:off x="176914" y="169726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800" b="1" dirty="0">
                <a:solidFill>
                  <a:prstClr val="black"/>
                </a:solidFill>
                <a:latin typeface="Segoe UI"/>
              </a:rPr>
              <a:t>HAK DAN KEWAJIBAN LSBU BERLISENSI (2/2)</a:t>
            </a:r>
          </a:p>
          <a:p>
            <a:pPr>
              <a:lnSpc>
                <a:spcPct val="100000"/>
              </a:lnSpc>
              <a:defRPr/>
            </a:pPr>
            <a:endParaRPr lang="fi-FI" sz="2800" b="1" dirty="0">
              <a:solidFill>
                <a:prstClr val="black"/>
              </a:solidFill>
              <a:latin typeface="Segoe UI"/>
            </a:endParaRPr>
          </a:p>
        </p:txBody>
      </p:sp>
      <p:pic>
        <p:nvPicPr>
          <p:cNvPr id="25" name="Picture 24" descr="lgo sigap.png">
            <a:extLst>
              <a:ext uri="{FF2B5EF4-FFF2-40B4-BE49-F238E27FC236}">
                <a16:creationId xmlns:a16="http://schemas.microsoft.com/office/drawing/2014/main" id="{AA2267A0-D8CE-DE3D-B94F-E0E4F98628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F1251A2D-4E15-4A9D-A8CB-BDE52EDD70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129D8A9C-9EA8-44EC-6298-292BFA57B704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68A8DE4B-0135-719D-6330-AB2EEAD64ACC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77B986AD-CDC5-3D6D-7FD1-02E7BA4E354F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D335DBD0-8B0C-C5E8-7D6B-559E8429F673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1A364886-1E13-3FF1-81F5-C3C919D3F1F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84009419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Rectangle: Rounded Corners 3">
            <a:extLst>
              <a:ext uri="{FF2B5EF4-FFF2-40B4-BE49-F238E27FC236}">
                <a16:creationId xmlns:a16="http://schemas.microsoft.com/office/drawing/2014/main" id="{86661C94-5814-2B1D-3790-623316E1F0C4}"/>
              </a:ext>
            </a:extLst>
          </p:cNvPr>
          <p:cNvSpPr/>
          <p:nvPr/>
        </p:nvSpPr>
        <p:spPr>
          <a:xfrm>
            <a:off x="9721013" y="1752440"/>
            <a:ext cx="2455797" cy="2333685"/>
          </a:xfrm>
          <a:prstGeom prst="roundRect">
            <a:avLst>
              <a:gd name="adj" fmla="val 6573"/>
            </a:avLst>
          </a:prstGeom>
          <a:solidFill>
            <a:schemeClr val="accent6">
              <a:lumMod val="40000"/>
              <a:lumOff val="60000"/>
              <a:alpha val="21176"/>
            </a:schemeClr>
          </a:solidFill>
          <a:ln w="38100">
            <a:solidFill>
              <a:schemeClr val="accent6">
                <a:lumMod val="50000"/>
              </a:schemeClr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Rectangle: Rounded Corners 3">
            <a:extLst>
              <a:ext uri="{FF2B5EF4-FFF2-40B4-BE49-F238E27FC236}">
                <a16:creationId xmlns:a16="http://schemas.microsoft.com/office/drawing/2014/main" id="{D08264F6-DD9E-438A-5B5A-81401C0E0718}"/>
              </a:ext>
            </a:extLst>
          </p:cNvPr>
          <p:cNvSpPr/>
          <p:nvPr/>
        </p:nvSpPr>
        <p:spPr>
          <a:xfrm>
            <a:off x="181041" y="655194"/>
            <a:ext cx="3645892" cy="6054983"/>
          </a:xfrm>
          <a:prstGeom prst="roundRect">
            <a:avLst>
              <a:gd name="adj" fmla="val 6573"/>
            </a:avLst>
          </a:prstGeom>
          <a:solidFill>
            <a:schemeClr val="accent6">
              <a:lumMod val="40000"/>
              <a:lumOff val="60000"/>
              <a:alpha val="21176"/>
            </a:schemeClr>
          </a:solidFill>
          <a:ln w="38100">
            <a:solidFill>
              <a:schemeClr val="accent6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000" b="1" i="0" u="none" strike="noStrike" kern="1200" cap="none" spc="0" normalizeH="0" baseline="0" noProof="1">
                <a:ln>
                  <a:solidFill>
                    <a:srgbClr val="70AD47">
                      <a:lumMod val="50000"/>
                    </a:srgbClr>
                  </a:solidFill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PEMOHON</a:t>
            </a: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000" b="1" i="0" u="none" strike="noStrike" kern="1200" cap="none" spc="0" normalizeH="0" baseline="0" noProof="1">
                <a:ln>
                  <a:solidFill>
                    <a:srgbClr val="70AD47">
                      <a:lumMod val="5000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PEMOHON</a:t>
            </a:r>
            <a:endParaRPr kumimoji="0" lang="en-ID" sz="2000" b="1" i="0" u="none" strike="noStrike" kern="1200" cap="none" spc="0" normalizeH="0" baseline="0" noProof="1">
              <a:ln>
                <a:solidFill>
                  <a:srgbClr val="70AD47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178" name="Rectangle: Rounded Corners 3">
            <a:extLst>
              <a:ext uri="{FF2B5EF4-FFF2-40B4-BE49-F238E27FC236}">
                <a16:creationId xmlns:a16="http://schemas.microsoft.com/office/drawing/2014/main" id="{B5A7B442-528C-4EA5-9C60-AC9C32696986}"/>
              </a:ext>
            </a:extLst>
          </p:cNvPr>
          <p:cNvSpPr/>
          <p:nvPr/>
        </p:nvSpPr>
        <p:spPr>
          <a:xfrm>
            <a:off x="3892454" y="661136"/>
            <a:ext cx="2550448" cy="5997535"/>
          </a:xfrm>
          <a:prstGeom prst="roundRect">
            <a:avLst>
              <a:gd name="adj" fmla="val 6573"/>
            </a:avLst>
          </a:prstGeom>
          <a:solidFill>
            <a:schemeClr val="accent6">
              <a:lumMod val="75000"/>
              <a:alpha val="21176"/>
            </a:schemeClr>
          </a:solidFill>
          <a:ln w="38100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000" b="1" i="0" u="none" strike="noStrike" kern="1200" cap="none" spc="0" normalizeH="0" baseline="0" noProof="1">
                <a:ln w="0"/>
                <a:solidFill>
                  <a:srgbClr val="174A9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DM Sans" pitchFamily="2" charset="77"/>
                <a:ea typeface="+mn-ea"/>
                <a:cs typeface="+mn-cs"/>
              </a:rPr>
              <a:t>LPJK</a:t>
            </a: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000" b="1" i="0" u="none" strike="noStrike" kern="1200" cap="none" spc="0" normalizeH="0" baseline="0" noProof="1">
                <a:ln w="0"/>
                <a:solidFill>
                  <a:srgbClr val="174A9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DM Sans" pitchFamily="2" charset="77"/>
                <a:ea typeface="+mn-ea"/>
                <a:cs typeface="+mn-cs"/>
              </a:rPr>
              <a:t>LPJK</a:t>
            </a:r>
            <a:endParaRPr kumimoji="0" lang="en-ID" sz="2000" b="1" i="0" u="none" strike="noStrike" kern="1200" cap="none" spc="0" normalizeH="0" baseline="0" noProof="1">
              <a:ln w="0"/>
              <a:solidFill>
                <a:srgbClr val="174A9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179" name="Rectangle: Rounded Corners 3">
            <a:extLst>
              <a:ext uri="{FF2B5EF4-FFF2-40B4-BE49-F238E27FC236}">
                <a16:creationId xmlns:a16="http://schemas.microsoft.com/office/drawing/2014/main" id="{7EA18DA2-E9C7-8D61-4919-91A618D1B875}"/>
              </a:ext>
            </a:extLst>
          </p:cNvPr>
          <p:cNvSpPr/>
          <p:nvPr/>
        </p:nvSpPr>
        <p:spPr>
          <a:xfrm>
            <a:off x="6677511" y="601788"/>
            <a:ext cx="2514396" cy="1374636"/>
          </a:xfrm>
          <a:prstGeom prst="roundRect">
            <a:avLst>
              <a:gd name="adj" fmla="val 6573"/>
            </a:avLst>
          </a:prstGeom>
          <a:solidFill>
            <a:schemeClr val="accent4">
              <a:lumMod val="40000"/>
              <a:lumOff val="60000"/>
              <a:alpha val="21176"/>
            </a:schemeClr>
          </a:solidFill>
          <a:ln w="38100">
            <a:solidFill>
              <a:schemeClr val="accent4">
                <a:lumMod val="50000"/>
              </a:schemeClr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000" b="1" i="0" u="none" strike="noStrike" kern="1200" cap="none" spc="600" normalizeH="0" baseline="0" noProof="1">
                <a:ln>
                  <a:solidFill>
                    <a:srgbClr val="FFC000">
                      <a:lumMod val="50000"/>
                    </a:srgbClr>
                  </a:solidFill>
                </a:ln>
                <a:solidFill>
                  <a:srgbClr val="ED7D31">
                    <a:lumMod val="50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BNSP</a:t>
            </a: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600" normalizeH="0" baseline="0" noProof="1">
              <a:ln>
                <a:solidFill>
                  <a:srgbClr val="FFC000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600" normalizeH="0" baseline="0" noProof="1">
              <a:ln>
                <a:solidFill>
                  <a:srgbClr val="FFC000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000" b="1" i="0" u="none" strike="noStrike" kern="1200" cap="none" spc="600" normalizeH="0" baseline="0" noProof="1">
                <a:ln>
                  <a:solidFill>
                    <a:srgbClr val="FFC000">
                      <a:lumMod val="50000"/>
                    </a:srgbClr>
                  </a:solidFill>
                </a:ln>
                <a:solidFill>
                  <a:srgbClr val="ED7D31">
                    <a:lumMod val="50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BNSP</a:t>
            </a:r>
            <a:endParaRPr kumimoji="0" lang="en-ID" sz="2000" b="1" i="0" u="none" strike="noStrike" kern="1200" cap="none" spc="600" normalizeH="0" baseline="0" noProof="1">
              <a:ln>
                <a:solidFill>
                  <a:srgbClr val="FFC000">
                    <a:lumMod val="50000"/>
                  </a:srgbClr>
                </a:solidFill>
              </a:ln>
              <a:solidFill>
                <a:srgbClr val="ED7D31">
                  <a:lumMod val="50000"/>
                </a:srgbClr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224" name="Rectangle: Rounded Corners 3">
            <a:extLst>
              <a:ext uri="{FF2B5EF4-FFF2-40B4-BE49-F238E27FC236}">
                <a16:creationId xmlns:a16="http://schemas.microsoft.com/office/drawing/2014/main" id="{D73BBF41-D41A-081B-5273-FB48D7D3C9CF}"/>
              </a:ext>
            </a:extLst>
          </p:cNvPr>
          <p:cNvSpPr/>
          <p:nvPr/>
        </p:nvSpPr>
        <p:spPr>
          <a:xfrm>
            <a:off x="6670455" y="2086190"/>
            <a:ext cx="2521453" cy="1480442"/>
          </a:xfrm>
          <a:prstGeom prst="roundRect">
            <a:avLst>
              <a:gd name="adj" fmla="val 6573"/>
            </a:avLst>
          </a:prstGeom>
          <a:solidFill>
            <a:schemeClr val="tx1">
              <a:alpha val="21176"/>
            </a:schemeClr>
          </a:solidFill>
          <a:ln w="38100">
            <a:solidFill>
              <a:schemeClr val="tx1"/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400" b="1" i="0" u="none" strike="noStrike" kern="1200" cap="none" spc="0" normalizeH="0" baseline="0" noProof="1">
              <a:ln>
                <a:solidFill>
                  <a:prstClr val="black"/>
                </a:solidFill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100" b="1" i="0" u="none" strike="noStrike" kern="1200" cap="none" spc="0" normalizeH="0" baseline="0" noProof="1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OSS-P</a:t>
            </a:r>
            <a:r>
              <a:rPr kumimoji="0" lang="en-US" sz="1100" b="1" i="0" u="none" strike="noStrike" kern="1200" cap="none" spc="0" normalizeH="0" baseline="0" noProof="1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ortalPUPR</a:t>
            </a:r>
            <a:r>
              <a:rPr kumimoji="0" lang="id-ID" sz="1100" b="1" i="0" u="none" strike="noStrike" kern="1200" cap="none" spc="0" normalizeH="0" baseline="0" noProof="1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-LPJK-LSP-BNSP</a:t>
            </a:r>
            <a:endParaRPr kumimoji="0" lang="id-ID" sz="1200" b="1" i="0" u="none" strike="noStrike" kern="1200" cap="none" spc="0" normalizeH="0" baseline="0" noProof="1">
              <a:ln>
                <a:solidFill>
                  <a:prstClr val="black"/>
                </a:solidFill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1" i="0" u="none" strike="noStrike" kern="1200" cap="none" spc="0" normalizeH="0" baseline="0" noProof="1">
              <a:ln>
                <a:solidFill>
                  <a:srgbClr val="C00000"/>
                </a:solidFill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1" i="0" u="none" strike="noStrike" kern="1200" cap="none" spc="0" normalizeH="0" baseline="0" noProof="1">
              <a:ln>
                <a:solidFill>
                  <a:srgbClr val="C00000"/>
                </a:solidFill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1" i="0" u="none" strike="noStrike" kern="1200" cap="none" spc="0" normalizeH="0" baseline="0" noProof="1">
              <a:ln>
                <a:solidFill>
                  <a:srgbClr val="C00000"/>
                </a:solidFill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193" name="Rectangle: Rounded Corners 3">
            <a:extLst>
              <a:ext uri="{FF2B5EF4-FFF2-40B4-BE49-F238E27FC236}">
                <a16:creationId xmlns:a16="http://schemas.microsoft.com/office/drawing/2014/main" id="{F2EB9F71-E05C-FFCD-31F4-2686E9C6CCB0}"/>
              </a:ext>
            </a:extLst>
          </p:cNvPr>
          <p:cNvSpPr/>
          <p:nvPr/>
        </p:nvSpPr>
        <p:spPr>
          <a:xfrm>
            <a:off x="6562150" y="3659724"/>
            <a:ext cx="2629758" cy="3056215"/>
          </a:xfrm>
          <a:prstGeom prst="roundRect">
            <a:avLst>
              <a:gd name="adj" fmla="val 6573"/>
            </a:avLst>
          </a:prstGeom>
          <a:solidFill>
            <a:schemeClr val="accent6">
              <a:lumMod val="75000"/>
              <a:alpha val="21176"/>
            </a:schemeClr>
          </a:solidFill>
          <a:ln w="38100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700" b="1" i="0" u="none" strike="noStrike" kern="1200" cap="none" spc="0" normalizeH="0" baseline="0" noProof="1">
              <a:ln w="0"/>
              <a:solidFill>
                <a:srgbClr val="4472C4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800" b="1" i="0" u="none" strike="noStrike" kern="1200" cap="none" spc="0" normalizeH="0" baseline="0" noProof="1">
                <a:ln w="0"/>
                <a:solidFill>
                  <a:srgbClr val="174A9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DM Sans" pitchFamily="2" charset="77"/>
                <a:ea typeface="+mn-ea"/>
                <a:cs typeface="+mn-cs"/>
              </a:rPr>
              <a:t>LPJK</a:t>
            </a: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60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000" b="1" i="0" u="none" strike="noStrike" kern="1200" cap="none" spc="600" normalizeH="0" baseline="0" noProof="1">
                <a:ln>
                  <a:solidFill>
                    <a:srgbClr val="002060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LPJK</a:t>
            </a:r>
            <a:endParaRPr kumimoji="0" lang="en-ID" sz="2000" b="1" i="0" u="none" strike="noStrike" kern="1200" cap="none" spc="600" normalizeH="0" baseline="0" noProof="1">
              <a:ln>
                <a:solidFill>
                  <a:srgbClr val="002060"/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61" name="Rectangle: Rounded Corners 5">
            <a:extLst>
              <a:ext uri="{FF2B5EF4-FFF2-40B4-BE49-F238E27FC236}">
                <a16:creationId xmlns:a16="http://schemas.microsoft.com/office/drawing/2014/main" id="{79A7F7A1-10B9-A7CE-27AA-508A2AB297EF}"/>
              </a:ext>
            </a:extLst>
          </p:cNvPr>
          <p:cNvSpPr/>
          <p:nvPr/>
        </p:nvSpPr>
        <p:spPr>
          <a:xfrm>
            <a:off x="270998" y="1796594"/>
            <a:ext cx="3158212" cy="111581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/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1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K</a:t>
            </a:r>
            <a:r>
              <a:rPr kumimoji="0" lang="en-US" sz="11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BLI 74321</a:t>
            </a:r>
            <a:endParaRPr kumimoji="0" lang="id-ID" sz="1100" b="1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LSP Pihak </a:t>
            </a:r>
            <a:r>
              <a:rPr kumimoji="0" lang="en-US" sz="11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3</a:t>
            </a:r>
            <a:r>
              <a:rPr kumimoji="0" lang="en-US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 yang bersifat independen dari asosiasi profesi/industri untuk mengukur dan mensertifikasi kompetensi pekerja profesional di sektor Konstruksi. </a:t>
            </a:r>
          </a:p>
        </p:txBody>
      </p:sp>
      <p:sp>
        <p:nvSpPr>
          <p:cNvPr id="2" name="Rectangle: Rounded Corners 5">
            <a:extLst>
              <a:ext uri="{FF2B5EF4-FFF2-40B4-BE49-F238E27FC236}">
                <a16:creationId xmlns:a16="http://schemas.microsoft.com/office/drawing/2014/main" id="{E7B4CC5F-D692-593C-EFEB-C6BEC790C16B}"/>
              </a:ext>
            </a:extLst>
          </p:cNvPr>
          <p:cNvSpPr/>
          <p:nvPr/>
        </p:nvSpPr>
        <p:spPr>
          <a:xfrm>
            <a:off x="1109383" y="1237667"/>
            <a:ext cx="2467984" cy="594493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Asosiasi Profesi</a:t>
            </a:r>
          </a:p>
        </p:txBody>
      </p:sp>
      <p:sp>
        <p:nvSpPr>
          <p:cNvPr id="60" name="Rectangle: Rounded Corners 5">
            <a:extLst>
              <a:ext uri="{FF2B5EF4-FFF2-40B4-BE49-F238E27FC236}">
                <a16:creationId xmlns:a16="http://schemas.microsoft.com/office/drawing/2014/main" id="{9BCFE0E8-442E-426B-0998-48A377F5FA6B}"/>
              </a:ext>
            </a:extLst>
          </p:cNvPr>
          <p:cNvSpPr/>
          <p:nvPr/>
        </p:nvSpPr>
        <p:spPr>
          <a:xfrm>
            <a:off x="231289" y="1140166"/>
            <a:ext cx="1020680" cy="855099"/>
          </a:xfrm>
          <a:prstGeom prst="roundRect">
            <a:avLst/>
          </a:prstGeom>
          <a:ln/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1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0" name="Grafik 39" descr="Koneksi dengan isian solid">
            <a:extLst>
              <a:ext uri="{FF2B5EF4-FFF2-40B4-BE49-F238E27FC236}">
                <a16:creationId xmlns:a16="http://schemas.microsoft.com/office/drawing/2014/main" id="{1DD28CB9-8662-86CD-616D-5BB860697B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0998" y="1110514"/>
            <a:ext cx="914400" cy="914400"/>
          </a:xfrm>
          <a:prstGeom prst="rect">
            <a:avLst/>
          </a:prstGeom>
        </p:spPr>
      </p:pic>
      <p:sp>
        <p:nvSpPr>
          <p:cNvPr id="62" name="Rectangle: Rounded Corners 5">
            <a:extLst>
              <a:ext uri="{FF2B5EF4-FFF2-40B4-BE49-F238E27FC236}">
                <a16:creationId xmlns:a16="http://schemas.microsoft.com/office/drawing/2014/main" id="{1D1838F5-5EF4-7F54-F732-5DC36995D58B}"/>
              </a:ext>
            </a:extLst>
          </p:cNvPr>
          <p:cNvSpPr/>
          <p:nvPr/>
        </p:nvSpPr>
        <p:spPr>
          <a:xfrm>
            <a:off x="356715" y="5141790"/>
            <a:ext cx="3158212" cy="1491001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/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100" b="1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KBLI 74311</a:t>
            </a:r>
            <a:endParaRPr kumimoji="0" lang="id-ID" sz="1100" b="1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LSP Pihak </a:t>
            </a:r>
            <a:r>
              <a:rPr kumimoji="0" lang="en-US" sz="11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1</a:t>
            </a:r>
            <a:r>
              <a:rPr kumimoji="0" lang="en-US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 yang bersifat independen dari K/L/I untuk mensertifikasi kompetensi karyawan/siswanya sendiri</a:t>
            </a:r>
            <a:endParaRPr kumimoji="0" lang="id-ID" sz="11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1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LSP Pihak </a:t>
            </a:r>
            <a:r>
              <a:rPr kumimoji="0" lang="id-ID" sz="11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1</a:t>
            </a:r>
            <a:r>
              <a:rPr kumimoji="0" lang="id-ID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 b</a:t>
            </a:r>
            <a:r>
              <a:rPr kumimoji="0" lang="en-ID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ukan merupakan Bidang Usaha untuk diajukan PB melalui OSS BR</a:t>
            </a:r>
          </a:p>
        </p:txBody>
      </p:sp>
      <p:sp>
        <p:nvSpPr>
          <p:cNvPr id="63" name="Rectangle: Rounded Corners 5">
            <a:extLst>
              <a:ext uri="{FF2B5EF4-FFF2-40B4-BE49-F238E27FC236}">
                <a16:creationId xmlns:a16="http://schemas.microsoft.com/office/drawing/2014/main" id="{5F5EEF3D-45AC-D7AD-261E-B9ADA118FF8E}"/>
              </a:ext>
            </a:extLst>
          </p:cNvPr>
          <p:cNvSpPr/>
          <p:nvPr/>
        </p:nvSpPr>
        <p:spPr>
          <a:xfrm>
            <a:off x="1225108" y="4711900"/>
            <a:ext cx="2495067" cy="628827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Lembaga Pendidikan &amp; Pelatihan Kerja</a:t>
            </a:r>
          </a:p>
        </p:txBody>
      </p:sp>
      <p:sp>
        <p:nvSpPr>
          <p:cNvPr id="64" name="Rectangle: Rounded Corners 5">
            <a:extLst>
              <a:ext uri="{FF2B5EF4-FFF2-40B4-BE49-F238E27FC236}">
                <a16:creationId xmlns:a16="http://schemas.microsoft.com/office/drawing/2014/main" id="{5738A09C-0174-49A9-5E2F-B0B4C14F165A}"/>
              </a:ext>
            </a:extLst>
          </p:cNvPr>
          <p:cNvSpPr/>
          <p:nvPr/>
        </p:nvSpPr>
        <p:spPr>
          <a:xfrm>
            <a:off x="322757" y="4560127"/>
            <a:ext cx="1020680" cy="855099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/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1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2" name="Grafik 41" descr="Topi wisuda dengan isian solid">
            <a:extLst>
              <a:ext uri="{FF2B5EF4-FFF2-40B4-BE49-F238E27FC236}">
                <a16:creationId xmlns:a16="http://schemas.microsoft.com/office/drawing/2014/main" id="{9DD37A13-0D6E-8E72-65AB-6D65854643A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21014" y="4736245"/>
            <a:ext cx="494309" cy="494309"/>
          </a:xfrm>
          <a:prstGeom prst="rect">
            <a:avLst/>
          </a:prstGeom>
        </p:spPr>
      </p:pic>
      <p:cxnSp>
        <p:nvCxnSpPr>
          <p:cNvPr id="68" name="Konektor Lurus 67">
            <a:extLst>
              <a:ext uri="{FF2B5EF4-FFF2-40B4-BE49-F238E27FC236}">
                <a16:creationId xmlns:a16="http://schemas.microsoft.com/office/drawing/2014/main" id="{93F04489-A4F1-5F48-EC0C-5B155B8D2A57}"/>
              </a:ext>
            </a:extLst>
          </p:cNvPr>
          <p:cNvCxnSpPr>
            <a:cxnSpLocks/>
          </p:cNvCxnSpPr>
          <p:nvPr/>
        </p:nvCxnSpPr>
        <p:spPr>
          <a:xfrm flipV="1">
            <a:off x="834223" y="4560127"/>
            <a:ext cx="0" cy="855099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Konektor Lurus 72">
            <a:extLst>
              <a:ext uri="{FF2B5EF4-FFF2-40B4-BE49-F238E27FC236}">
                <a16:creationId xmlns:a16="http://schemas.microsoft.com/office/drawing/2014/main" id="{57FA9D0A-13E7-BF49-2E42-876F236BD2CF}"/>
              </a:ext>
            </a:extLst>
          </p:cNvPr>
          <p:cNvCxnSpPr>
            <a:cxnSpLocks/>
          </p:cNvCxnSpPr>
          <p:nvPr/>
        </p:nvCxnSpPr>
        <p:spPr>
          <a:xfrm>
            <a:off x="1324565" y="6146490"/>
            <a:ext cx="1382619" cy="0"/>
          </a:xfrm>
          <a:prstGeom prst="line">
            <a:avLst/>
          </a:prstGeom>
          <a:ln w="381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: Rounded Corners 5">
            <a:extLst>
              <a:ext uri="{FF2B5EF4-FFF2-40B4-BE49-F238E27FC236}">
                <a16:creationId xmlns:a16="http://schemas.microsoft.com/office/drawing/2014/main" id="{AEBD03BF-E9AC-5024-0639-E215A4EB0656}"/>
              </a:ext>
            </a:extLst>
          </p:cNvPr>
          <p:cNvSpPr/>
          <p:nvPr/>
        </p:nvSpPr>
        <p:spPr>
          <a:xfrm>
            <a:off x="4206739" y="5191688"/>
            <a:ext cx="1991357" cy="718575"/>
          </a:xfrm>
          <a:prstGeom prst="roundRect">
            <a:avLst/>
          </a:prstGeom>
          <a:solidFill>
            <a:srgbClr val="DEEBF7"/>
          </a:solidFill>
          <a:ln/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(SE LPJK 07/2021)</a:t>
            </a:r>
            <a:endParaRPr kumimoji="0" lang="id-ID" sz="11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80" name="Rectangle: Rounded Corners 5">
            <a:extLst>
              <a:ext uri="{FF2B5EF4-FFF2-40B4-BE49-F238E27FC236}">
                <a16:creationId xmlns:a16="http://schemas.microsoft.com/office/drawing/2014/main" id="{6DE48B2D-30F3-D011-61B0-D3876C74C18E}"/>
              </a:ext>
            </a:extLst>
          </p:cNvPr>
          <p:cNvSpPr/>
          <p:nvPr/>
        </p:nvSpPr>
        <p:spPr>
          <a:xfrm>
            <a:off x="4104917" y="4797590"/>
            <a:ext cx="2248456" cy="431059"/>
          </a:xfrm>
          <a:prstGeom prst="roundRect">
            <a:avLst/>
          </a:prstGeom>
          <a:solidFill>
            <a:srgbClr val="214F78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Registrasi LPPK</a:t>
            </a:r>
          </a:p>
        </p:txBody>
      </p:sp>
      <p:pic>
        <p:nvPicPr>
          <p:cNvPr id="82" name="Grafik 81" descr="Ruang Kelas dengan isian solid">
            <a:extLst>
              <a:ext uri="{FF2B5EF4-FFF2-40B4-BE49-F238E27FC236}">
                <a16:creationId xmlns:a16="http://schemas.microsoft.com/office/drawing/2014/main" id="{B43DDD4D-C6D4-9148-4873-2F67B1DB87B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4318" y="4733748"/>
            <a:ext cx="494309" cy="494309"/>
          </a:xfrm>
          <a:prstGeom prst="rect">
            <a:avLst/>
          </a:prstGeom>
        </p:spPr>
      </p:pic>
      <p:sp>
        <p:nvSpPr>
          <p:cNvPr id="91" name="Rectangle: Rounded Corners 5">
            <a:extLst>
              <a:ext uri="{FF2B5EF4-FFF2-40B4-BE49-F238E27FC236}">
                <a16:creationId xmlns:a16="http://schemas.microsoft.com/office/drawing/2014/main" id="{B3DEAE07-0A57-D106-D3E3-43918A49EB13}"/>
              </a:ext>
            </a:extLst>
          </p:cNvPr>
          <p:cNvSpPr/>
          <p:nvPr/>
        </p:nvSpPr>
        <p:spPr>
          <a:xfrm>
            <a:off x="1185398" y="3503085"/>
            <a:ext cx="2063928" cy="68310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6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Membentuk LSP</a:t>
            </a:r>
            <a:endParaRPr kumimoji="0" lang="en-ID" sz="1600" b="1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92" name="Rectangle: Rounded Corners 5">
            <a:extLst>
              <a:ext uri="{FF2B5EF4-FFF2-40B4-BE49-F238E27FC236}">
                <a16:creationId xmlns:a16="http://schemas.microsoft.com/office/drawing/2014/main" id="{163F77AC-1B97-ABE2-48D2-133B6E8C11A6}"/>
              </a:ext>
            </a:extLst>
          </p:cNvPr>
          <p:cNvSpPr/>
          <p:nvPr/>
        </p:nvSpPr>
        <p:spPr>
          <a:xfrm>
            <a:off x="291317" y="3405584"/>
            <a:ext cx="1020680" cy="855099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/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1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4" name="Grafik 93" descr="Gedung Sekolah dengan isian solid">
            <a:extLst>
              <a:ext uri="{FF2B5EF4-FFF2-40B4-BE49-F238E27FC236}">
                <a16:creationId xmlns:a16="http://schemas.microsoft.com/office/drawing/2014/main" id="{F1CD64A2-650A-D812-3A69-1A11E8258D4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45446" y="3343470"/>
            <a:ext cx="914400" cy="914400"/>
          </a:xfrm>
          <a:prstGeom prst="rect">
            <a:avLst/>
          </a:prstGeom>
        </p:spPr>
      </p:pic>
      <p:sp>
        <p:nvSpPr>
          <p:cNvPr id="96" name="Rectangle: Rounded Corners 5">
            <a:extLst>
              <a:ext uri="{FF2B5EF4-FFF2-40B4-BE49-F238E27FC236}">
                <a16:creationId xmlns:a16="http://schemas.microsoft.com/office/drawing/2014/main" id="{57F484EB-5B40-F331-AAD6-972EFBEA6DD6}"/>
              </a:ext>
            </a:extLst>
          </p:cNvPr>
          <p:cNvSpPr/>
          <p:nvPr/>
        </p:nvSpPr>
        <p:spPr>
          <a:xfrm>
            <a:off x="4213512" y="2167653"/>
            <a:ext cx="1991357" cy="347607"/>
          </a:xfrm>
          <a:prstGeom prst="roundRect">
            <a:avLst/>
          </a:prstGeom>
          <a:solidFill>
            <a:srgbClr val="E2F0D9"/>
          </a:solidFill>
          <a:ln/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(SE LPJK </a:t>
            </a:r>
            <a:r>
              <a:rPr kumimoji="0" lang="id-ID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03</a:t>
            </a:r>
            <a:r>
              <a:rPr kumimoji="0" lang="en-ID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/202</a:t>
            </a:r>
            <a:r>
              <a:rPr kumimoji="0" lang="id-ID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4</a:t>
            </a:r>
            <a:r>
              <a:rPr kumimoji="0" lang="en-ID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) </a:t>
            </a:r>
            <a:endParaRPr kumimoji="0" lang="id-ID" sz="11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97" name="Rectangle: Rounded Corners 5">
            <a:extLst>
              <a:ext uri="{FF2B5EF4-FFF2-40B4-BE49-F238E27FC236}">
                <a16:creationId xmlns:a16="http://schemas.microsoft.com/office/drawing/2014/main" id="{61726F95-51B2-A638-D71B-261E5B2D483F}"/>
              </a:ext>
            </a:extLst>
          </p:cNvPr>
          <p:cNvSpPr/>
          <p:nvPr/>
        </p:nvSpPr>
        <p:spPr>
          <a:xfrm>
            <a:off x="4111690" y="1766782"/>
            <a:ext cx="2181238" cy="431059"/>
          </a:xfrm>
          <a:prstGeom prst="roundRect">
            <a:avLst/>
          </a:prstGeom>
          <a:solidFill>
            <a:srgbClr val="AAD29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6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Akreditasi</a:t>
            </a:r>
            <a:endParaRPr kumimoji="0" lang="en-ID" sz="1600" b="1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103" name="Rectangle: Rounded Corners 5">
            <a:extLst>
              <a:ext uri="{FF2B5EF4-FFF2-40B4-BE49-F238E27FC236}">
                <a16:creationId xmlns:a16="http://schemas.microsoft.com/office/drawing/2014/main" id="{0D297ABE-0215-37E3-7DB8-BFB9DB08226E}"/>
              </a:ext>
            </a:extLst>
          </p:cNvPr>
          <p:cNvSpPr/>
          <p:nvPr/>
        </p:nvSpPr>
        <p:spPr>
          <a:xfrm>
            <a:off x="4213512" y="3828766"/>
            <a:ext cx="1991357" cy="709160"/>
          </a:xfrm>
          <a:prstGeom prst="roundRect">
            <a:avLst/>
          </a:prstGeom>
          <a:solidFill>
            <a:srgbClr val="FAECC8"/>
          </a:solidFill>
          <a:ln/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(SE LPJK 02/2023 &amp; 03/2023) </a:t>
            </a:r>
            <a:endParaRPr kumimoji="0" lang="id-ID" sz="11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1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  <a:sym typeface="Wingdings" panose="05000000000000000000" pitchFamily="2" charset="2"/>
              </a:rPr>
              <a:t></a:t>
            </a:r>
            <a:endParaRPr kumimoji="0" lang="id-ID" sz="1100" b="1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  <a:sym typeface="Wingdings" panose="05000000000000000000" pitchFamily="2" charset="2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(S</a:t>
            </a:r>
            <a:r>
              <a:rPr kumimoji="0" lang="id-ID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K</a:t>
            </a:r>
            <a:r>
              <a:rPr kumimoji="0" lang="en-ID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 </a:t>
            </a:r>
            <a:r>
              <a:rPr kumimoji="0" lang="id-ID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DJBK</a:t>
            </a:r>
            <a:r>
              <a:rPr kumimoji="0" lang="en-ID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 </a:t>
            </a:r>
            <a:r>
              <a:rPr kumimoji="0" lang="id-ID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33</a:t>
            </a:r>
            <a:r>
              <a:rPr kumimoji="0" lang="en-ID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/202</a:t>
            </a:r>
            <a:r>
              <a:rPr kumimoji="0" lang="id-ID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3)</a:t>
            </a:r>
            <a:r>
              <a:rPr kumimoji="0" lang="en-ID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 </a:t>
            </a:r>
            <a:endParaRPr kumimoji="0" lang="id-ID" sz="11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104" name="Rectangle: Rounded Corners 5">
            <a:extLst>
              <a:ext uri="{FF2B5EF4-FFF2-40B4-BE49-F238E27FC236}">
                <a16:creationId xmlns:a16="http://schemas.microsoft.com/office/drawing/2014/main" id="{DF567D7E-A8E3-ABDE-30D7-B4EF4CB8E997}"/>
              </a:ext>
            </a:extLst>
          </p:cNvPr>
          <p:cNvSpPr/>
          <p:nvPr/>
        </p:nvSpPr>
        <p:spPr>
          <a:xfrm>
            <a:off x="4058946" y="3116050"/>
            <a:ext cx="2181238" cy="471817"/>
          </a:xfrm>
          <a:prstGeom prst="roundRect">
            <a:avLst/>
          </a:prstGeom>
          <a:solidFill>
            <a:srgbClr val="7F6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6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Rekomendasi LSP</a:t>
            </a:r>
            <a:endParaRPr kumimoji="0" lang="en-ID" sz="1600" b="1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cxnSp>
        <p:nvCxnSpPr>
          <p:cNvPr id="137" name="Konektor: Siku 136">
            <a:extLst>
              <a:ext uri="{FF2B5EF4-FFF2-40B4-BE49-F238E27FC236}">
                <a16:creationId xmlns:a16="http://schemas.microsoft.com/office/drawing/2014/main" id="{07C2C36E-B130-D0C0-DE6E-7D951FB8D396}"/>
              </a:ext>
            </a:extLst>
          </p:cNvPr>
          <p:cNvCxnSpPr>
            <a:cxnSpLocks/>
            <a:stCxn id="2" idx="3"/>
            <a:endCxn id="97" idx="0"/>
          </p:cNvCxnSpPr>
          <p:nvPr/>
        </p:nvCxnSpPr>
        <p:spPr>
          <a:xfrm>
            <a:off x="3577367" y="1534914"/>
            <a:ext cx="1624942" cy="231868"/>
          </a:xfrm>
          <a:prstGeom prst="bentConnector2">
            <a:avLst/>
          </a:prstGeom>
          <a:ln w="38100">
            <a:solidFill>
              <a:srgbClr val="C00000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Konektor: Siku 153">
            <a:extLst>
              <a:ext uri="{FF2B5EF4-FFF2-40B4-BE49-F238E27FC236}">
                <a16:creationId xmlns:a16="http://schemas.microsoft.com/office/drawing/2014/main" id="{D1BBA4C4-9A0D-32F3-50B7-43967893F017}"/>
              </a:ext>
            </a:extLst>
          </p:cNvPr>
          <p:cNvCxnSpPr>
            <a:cxnSpLocks/>
            <a:stCxn id="96" idx="2"/>
            <a:endCxn id="91" idx="0"/>
          </p:cNvCxnSpPr>
          <p:nvPr/>
        </p:nvCxnSpPr>
        <p:spPr>
          <a:xfrm rot="5400000">
            <a:off x="3219365" y="1513258"/>
            <a:ext cx="987825" cy="2991829"/>
          </a:xfrm>
          <a:prstGeom prst="bentConnector3">
            <a:avLst>
              <a:gd name="adj1" fmla="val 50000"/>
            </a:avLst>
          </a:prstGeom>
          <a:ln w="38100">
            <a:solidFill>
              <a:srgbClr val="C00000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Konektor: Siku 157">
            <a:extLst>
              <a:ext uri="{FF2B5EF4-FFF2-40B4-BE49-F238E27FC236}">
                <a16:creationId xmlns:a16="http://schemas.microsoft.com/office/drawing/2014/main" id="{3C21FA72-F9EC-557E-6230-7D66685FE215}"/>
              </a:ext>
            </a:extLst>
          </p:cNvPr>
          <p:cNvCxnSpPr>
            <a:cxnSpLocks/>
            <a:stCxn id="80" idx="0"/>
            <a:endCxn id="91" idx="2"/>
          </p:cNvCxnSpPr>
          <p:nvPr/>
        </p:nvCxnSpPr>
        <p:spPr>
          <a:xfrm rot="16200000" flipV="1">
            <a:off x="3417552" y="2985996"/>
            <a:ext cx="611405" cy="3011783"/>
          </a:xfrm>
          <a:prstGeom prst="bentConnector3">
            <a:avLst>
              <a:gd name="adj1" fmla="val 29419"/>
            </a:avLst>
          </a:prstGeom>
          <a:ln w="38100">
            <a:solidFill>
              <a:srgbClr val="0070C0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Konektor: Siku 161">
            <a:extLst>
              <a:ext uri="{FF2B5EF4-FFF2-40B4-BE49-F238E27FC236}">
                <a16:creationId xmlns:a16="http://schemas.microsoft.com/office/drawing/2014/main" id="{C08540B8-7C9E-5D75-2504-06F142F4DB4C}"/>
              </a:ext>
            </a:extLst>
          </p:cNvPr>
          <p:cNvCxnSpPr>
            <a:cxnSpLocks/>
            <a:stCxn id="62" idx="3"/>
            <a:endCxn id="78" idx="2"/>
          </p:cNvCxnSpPr>
          <p:nvPr/>
        </p:nvCxnSpPr>
        <p:spPr>
          <a:xfrm>
            <a:off x="3514927" y="5887291"/>
            <a:ext cx="1687491" cy="22972"/>
          </a:xfrm>
          <a:prstGeom prst="bentConnector4">
            <a:avLst>
              <a:gd name="adj1" fmla="val 11550"/>
              <a:gd name="adj2" fmla="val 1095124"/>
            </a:avLst>
          </a:prstGeom>
          <a:ln w="38100">
            <a:solidFill>
              <a:srgbClr val="0070C0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Konektor: Siku 167">
            <a:extLst>
              <a:ext uri="{FF2B5EF4-FFF2-40B4-BE49-F238E27FC236}">
                <a16:creationId xmlns:a16="http://schemas.microsoft.com/office/drawing/2014/main" id="{35AD28C0-28ED-ACAF-D2BB-E719941960FC}"/>
              </a:ext>
            </a:extLst>
          </p:cNvPr>
          <p:cNvCxnSpPr>
            <a:cxnSpLocks/>
            <a:stCxn id="91" idx="3"/>
            <a:endCxn id="104" idx="1"/>
          </p:cNvCxnSpPr>
          <p:nvPr/>
        </p:nvCxnSpPr>
        <p:spPr>
          <a:xfrm flipV="1">
            <a:off x="3249326" y="3351959"/>
            <a:ext cx="809620" cy="492676"/>
          </a:xfrm>
          <a:prstGeom prst="bentConnector3">
            <a:avLst>
              <a:gd name="adj1" fmla="val 50000"/>
            </a:avLst>
          </a:prstGeom>
          <a:ln w="38100">
            <a:solidFill>
              <a:schemeClr val="tx1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Rectangle: Rounded Corners 5">
            <a:extLst>
              <a:ext uri="{FF2B5EF4-FFF2-40B4-BE49-F238E27FC236}">
                <a16:creationId xmlns:a16="http://schemas.microsoft.com/office/drawing/2014/main" id="{2B2D5DFA-A580-964B-6004-B3BF14511A49}"/>
              </a:ext>
            </a:extLst>
          </p:cNvPr>
          <p:cNvSpPr/>
          <p:nvPr/>
        </p:nvSpPr>
        <p:spPr>
          <a:xfrm>
            <a:off x="7174151" y="983007"/>
            <a:ext cx="1466644" cy="618189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6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Lisensi LSP</a:t>
            </a:r>
            <a:endParaRPr kumimoji="0" lang="en-ID" sz="1600" b="1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cxnSp>
        <p:nvCxnSpPr>
          <p:cNvPr id="183" name="Konektor: Siku 182">
            <a:extLst>
              <a:ext uri="{FF2B5EF4-FFF2-40B4-BE49-F238E27FC236}">
                <a16:creationId xmlns:a16="http://schemas.microsoft.com/office/drawing/2014/main" id="{E3B04A05-70BC-5A2C-24F5-DE313B70DD8D}"/>
              </a:ext>
            </a:extLst>
          </p:cNvPr>
          <p:cNvCxnSpPr>
            <a:cxnSpLocks/>
            <a:stCxn id="104" idx="3"/>
            <a:endCxn id="182" idx="1"/>
          </p:cNvCxnSpPr>
          <p:nvPr/>
        </p:nvCxnSpPr>
        <p:spPr>
          <a:xfrm flipV="1">
            <a:off x="6240184" y="1292102"/>
            <a:ext cx="933967" cy="2059857"/>
          </a:xfrm>
          <a:prstGeom prst="bentConnector3">
            <a:avLst>
              <a:gd name="adj1" fmla="val 34730"/>
            </a:avLst>
          </a:prstGeom>
          <a:ln w="38100">
            <a:solidFill>
              <a:schemeClr val="tx1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Rectangle: Rounded Corners 5">
            <a:extLst>
              <a:ext uri="{FF2B5EF4-FFF2-40B4-BE49-F238E27FC236}">
                <a16:creationId xmlns:a16="http://schemas.microsoft.com/office/drawing/2014/main" id="{98386E2B-F329-7988-D978-611F85D20E6B}"/>
              </a:ext>
            </a:extLst>
          </p:cNvPr>
          <p:cNvSpPr/>
          <p:nvPr/>
        </p:nvSpPr>
        <p:spPr>
          <a:xfrm>
            <a:off x="6848761" y="4981229"/>
            <a:ext cx="2120821" cy="1568589"/>
          </a:xfrm>
          <a:prstGeom prst="roundRect">
            <a:avLst/>
          </a:prstGeom>
          <a:solidFill>
            <a:srgbClr val="FAECC8"/>
          </a:solidFill>
          <a:ln/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(SE LPJK 02/2023 &amp; 03/2023) </a:t>
            </a: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1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171459" marR="0" lvl="0" indent="-171459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SK dan Sertifikat Lisensi BNSP</a:t>
            </a:r>
          </a:p>
          <a:p>
            <a:pPr marL="171459" marR="0" lvl="0" indent="-171459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11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Daftar Jabker, Asesor dan TUK </a:t>
            </a:r>
            <a:endParaRPr kumimoji="0" lang="id-ID" sz="11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189" name="Rectangle: Rounded Corners 5">
            <a:extLst>
              <a:ext uri="{FF2B5EF4-FFF2-40B4-BE49-F238E27FC236}">
                <a16:creationId xmlns:a16="http://schemas.microsoft.com/office/drawing/2014/main" id="{2699D952-3101-9927-8AA8-D91A9D0A0B4E}"/>
              </a:ext>
            </a:extLst>
          </p:cNvPr>
          <p:cNvSpPr/>
          <p:nvPr/>
        </p:nvSpPr>
        <p:spPr>
          <a:xfrm>
            <a:off x="6746938" y="4150420"/>
            <a:ext cx="2323047" cy="978922"/>
          </a:xfrm>
          <a:prstGeom prst="roundRect">
            <a:avLst/>
          </a:prstGeom>
          <a:solidFill>
            <a:schemeClr val="accent4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6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Pencatatan LSP Terlisensi Melalui SIJK</a:t>
            </a:r>
            <a:endParaRPr kumimoji="0" lang="en-ID" sz="1600" b="1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cxnSp>
        <p:nvCxnSpPr>
          <p:cNvPr id="192" name="Konektor Lurus 191">
            <a:extLst>
              <a:ext uri="{FF2B5EF4-FFF2-40B4-BE49-F238E27FC236}">
                <a16:creationId xmlns:a16="http://schemas.microsoft.com/office/drawing/2014/main" id="{F0913BEF-2911-4DE9-2E9D-4CE541DD0930}"/>
              </a:ext>
            </a:extLst>
          </p:cNvPr>
          <p:cNvCxnSpPr>
            <a:cxnSpLocks/>
          </p:cNvCxnSpPr>
          <p:nvPr/>
        </p:nvCxnSpPr>
        <p:spPr>
          <a:xfrm>
            <a:off x="7222792" y="5547781"/>
            <a:ext cx="1382619" cy="0"/>
          </a:xfrm>
          <a:prstGeom prst="line">
            <a:avLst/>
          </a:prstGeom>
          <a:ln w="3810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Konektor: Siku 193">
            <a:extLst>
              <a:ext uri="{FF2B5EF4-FFF2-40B4-BE49-F238E27FC236}">
                <a16:creationId xmlns:a16="http://schemas.microsoft.com/office/drawing/2014/main" id="{36B81572-FE18-45C9-978D-BF881828378C}"/>
              </a:ext>
            </a:extLst>
          </p:cNvPr>
          <p:cNvCxnSpPr>
            <a:cxnSpLocks/>
            <a:stCxn id="182" idx="3"/>
            <a:endCxn id="189" idx="3"/>
          </p:cNvCxnSpPr>
          <p:nvPr/>
        </p:nvCxnSpPr>
        <p:spPr>
          <a:xfrm>
            <a:off x="8640796" y="1292102"/>
            <a:ext cx="429189" cy="3347779"/>
          </a:xfrm>
          <a:prstGeom prst="bentConnector3">
            <a:avLst>
              <a:gd name="adj1" fmla="val 153263"/>
            </a:avLst>
          </a:prstGeom>
          <a:ln w="38100">
            <a:solidFill>
              <a:schemeClr val="tx1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8" name="Rectangle: Rounded Corners 5">
            <a:extLst>
              <a:ext uri="{FF2B5EF4-FFF2-40B4-BE49-F238E27FC236}">
                <a16:creationId xmlns:a16="http://schemas.microsoft.com/office/drawing/2014/main" id="{EE14490C-9939-EF99-14F5-DC3D747E234B}"/>
              </a:ext>
            </a:extLst>
          </p:cNvPr>
          <p:cNvSpPr/>
          <p:nvPr/>
        </p:nvSpPr>
        <p:spPr>
          <a:xfrm>
            <a:off x="6848761" y="2482208"/>
            <a:ext cx="2040619" cy="809567"/>
          </a:xfrm>
          <a:prstGeom prst="roundRect">
            <a:avLst/>
          </a:prstGeom>
          <a:solidFill>
            <a:srgbClr val="C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200" b="0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Aktivasi PBBR </a:t>
            </a:r>
            <a:r>
              <a:rPr kumimoji="0" lang="en-ID" sz="12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  <a:sym typeface="Wingdings" panose="05000000000000000000" pitchFamily="2" charset="2"/>
              </a:rPr>
              <a:t> </a:t>
            </a:r>
            <a:r>
              <a:rPr kumimoji="0" lang="en-ID" sz="12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NIB +  SS Terverifikasi </a:t>
            </a:r>
            <a:r>
              <a:rPr kumimoji="0" lang="en-ID" sz="1200" b="1" i="0" u="none" strike="noStrike" kern="1200" cap="none" spc="0" normalizeH="0" baseline="0" noProof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(Khusus LSP-APT/P3)</a:t>
            </a:r>
          </a:p>
        </p:txBody>
      </p:sp>
      <p:cxnSp>
        <p:nvCxnSpPr>
          <p:cNvPr id="229" name="Konektor: Siku 228">
            <a:extLst>
              <a:ext uri="{FF2B5EF4-FFF2-40B4-BE49-F238E27FC236}">
                <a16:creationId xmlns:a16="http://schemas.microsoft.com/office/drawing/2014/main" id="{0399EB7F-5A95-495B-CB5F-B373531761C8}"/>
              </a:ext>
            </a:extLst>
          </p:cNvPr>
          <p:cNvCxnSpPr>
            <a:cxnSpLocks/>
            <a:endCxn id="228" idx="3"/>
          </p:cNvCxnSpPr>
          <p:nvPr/>
        </p:nvCxnSpPr>
        <p:spPr>
          <a:xfrm rot="10800000">
            <a:off x="8889380" y="2899691"/>
            <a:ext cx="417674" cy="0"/>
          </a:xfrm>
          <a:prstGeom prst="bentConnector3">
            <a:avLst>
              <a:gd name="adj1" fmla="val 50000"/>
            </a:avLst>
          </a:prstGeom>
          <a:ln w="38100">
            <a:solidFill>
              <a:schemeClr val="tx1"/>
            </a:solidFill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9" name="Rectangle: Rounded Corners 5">
            <a:extLst>
              <a:ext uri="{FF2B5EF4-FFF2-40B4-BE49-F238E27FC236}">
                <a16:creationId xmlns:a16="http://schemas.microsoft.com/office/drawing/2014/main" id="{AE1A79A7-2D5F-60A0-93F7-0698FE524F7C}"/>
              </a:ext>
            </a:extLst>
          </p:cNvPr>
          <p:cNvSpPr/>
          <p:nvPr/>
        </p:nvSpPr>
        <p:spPr>
          <a:xfrm>
            <a:off x="9871829" y="2962278"/>
            <a:ext cx="2229369" cy="978922"/>
          </a:xfrm>
          <a:prstGeom prst="round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500" b="1" i="0" u="none" strike="noStrike" kern="1200" cap="none" spc="0" normalizeH="0" baseline="0" noProof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LSP beroperasi melaksanakan sertifikasi SKK-K</a:t>
            </a:r>
          </a:p>
        </p:txBody>
      </p:sp>
      <p:cxnSp>
        <p:nvCxnSpPr>
          <p:cNvPr id="280" name="Konektor: Siku 279">
            <a:extLst>
              <a:ext uri="{FF2B5EF4-FFF2-40B4-BE49-F238E27FC236}">
                <a16:creationId xmlns:a16="http://schemas.microsoft.com/office/drawing/2014/main" id="{058FFE4E-2947-9E1B-3658-A27B8471F825}"/>
              </a:ext>
            </a:extLst>
          </p:cNvPr>
          <p:cNvCxnSpPr>
            <a:cxnSpLocks/>
            <a:stCxn id="188" idx="3"/>
            <a:endCxn id="279" idx="1"/>
          </p:cNvCxnSpPr>
          <p:nvPr/>
        </p:nvCxnSpPr>
        <p:spPr>
          <a:xfrm flipV="1">
            <a:off x="8969582" y="3451739"/>
            <a:ext cx="902247" cy="2313785"/>
          </a:xfrm>
          <a:prstGeom prst="bentConnector3">
            <a:avLst>
              <a:gd name="adj1" fmla="val 50000"/>
            </a:avLst>
          </a:prstGeom>
          <a:ln w="38100">
            <a:solidFill>
              <a:schemeClr val="tx1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1" name="Rectangle: Rounded Corners 3">
            <a:extLst>
              <a:ext uri="{FF2B5EF4-FFF2-40B4-BE49-F238E27FC236}">
                <a16:creationId xmlns:a16="http://schemas.microsoft.com/office/drawing/2014/main" id="{5822F480-E3A8-5EFA-5BCB-4B09D87F49EA}"/>
              </a:ext>
            </a:extLst>
          </p:cNvPr>
          <p:cNvSpPr/>
          <p:nvPr/>
        </p:nvSpPr>
        <p:spPr>
          <a:xfrm>
            <a:off x="9697189" y="4351756"/>
            <a:ext cx="2466981" cy="2333685"/>
          </a:xfrm>
          <a:prstGeom prst="roundRect">
            <a:avLst>
              <a:gd name="adj" fmla="val 6573"/>
            </a:avLst>
          </a:prstGeom>
          <a:solidFill>
            <a:schemeClr val="accent4">
              <a:lumMod val="40000"/>
              <a:lumOff val="60000"/>
              <a:alpha val="21176"/>
            </a:schemeClr>
          </a:solidFill>
          <a:ln w="38100">
            <a:solidFill>
              <a:schemeClr val="accent4">
                <a:lumMod val="50000"/>
              </a:schemeClr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000" b="1" i="0" u="none" strike="noStrike" kern="1200" cap="none" spc="600" normalizeH="0" baseline="0" noProof="1">
                <a:ln>
                  <a:solidFill>
                    <a:srgbClr val="FFC000">
                      <a:lumMod val="50000"/>
                    </a:srgbClr>
                  </a:solidFill>
                </a:ln>
                <a:solidFill>
                  <a:srgbClr val="ED7D31">
                    <a:lumMod val="50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BNSP</a:t>
            </a: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600" normalizeH="0" baseline="0" noProof="1">
              <a:ln>
                <a:solidFill>
                  <a:srgbClr val="FFC000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600" normalizeH="0" baseline="0" noProof="1">
              <a:ln>
                <a:solidFill>
                  <a:srgbClr val="FFC000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600" normalizeH="0" baseline="0" noProof="1">
              <a:ln>
                <a:solidFill>
                  <a:srgbClr val="FFC000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600" normalizeH="0" baseline="0" noProof="1">
              <a:ln>
                <a:solidFill>
                  <a:srgbClr val="FFC000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000" b="1" i="0" u="none" strike="noStrike" kern="1200" cap="none" spc="600" normalizeH="0" baseline="0" noProof="1">
              <a:ln>
                <a:solidFill>
                  <a:srgbClr val="FFC000">
                    <a:lumMod val="5000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000" b="1" i="0" u="none" strike="noStrike" kern="1200" cap="none" spc="600" normalizeH="0" baseline="0" noProof="1">
                <a:ln>
                  <a:solidFill>
                    <a:srgbClr val="FFC000">
                      <a:lumMod val="50000"/>
                    </a:srgbClr>
                  </a:solidFill>
                </a:ln>
                <a:solidFill>
                  <a:srgbClr val="ED7D31">
                    <a:lumMod val="50000"/>
                  </a:srgbClr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BNSP</a:t>
            </a:r>
            <a:endParaRPr kumimoji="0" lang="en-ID" sz="2000" b="1" i="0" u="none" strike="noStrike" kern="1200" cap="none" spc="600" normalizeH="0" baseline="0" noProof="1">
              <a:ln>
                <a:solidFill>
                  <a:srgbClr val="FFC000">
                    <a:lumMod val="50000"/>
                  </a:srgbClr>
                </a:solidFill>
              </a:ln>
              <a:solidFill>
                <a:srgbClr val="ED7D31">
                  <a:lumMod val="50000"/>
                </a:srgbClr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292" name="Rectangle: Rounded Corners 5">
            <a:extLst>
              <a:ext uri="{FF2B5EF4-FFF2-40B4-BE49-F238E27FC236}">
                <a16:creationId xmlns:a16="http://schemas.microsoft.com/office/drawing/2014/main" id="{B8599081-4F65-7E66-AF2D-CE5AC49002FC}"/>
              </a:ext>
            </a:extLst>
          </p:cNvPr>
          <p:cNvSpPr/>
          <p:nvPr/>
        </p:nvSpPr>
        <p:spPr>
          <a:xfrm>
            <a:off x="9870289" y="4859266"/>
            <a:ext cx="2120821" cy="1258439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1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Validasi dan Integrasi Sistem oleh BNSP:</a:t>
            </a:r>
            <a:br>
              <a:rPr kumimoji="0" lang="en-ID" sz="11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</a:br>
            <a:r>
              <a:rPr kumimoji="0" lang="en-ID" sz="11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Arial" panose="020B0604020202020204" pitchFamily="34" charset="0"/>
              </a:rPr>
              <a:t>SISTEM INFORMASI LSP-BNSP-OSS/PPPUPR-LPJK </a:t>
            </a:r>
            <a:endParaRPr kumimoji="0" lang="en-ID" sz="1100" b="1" i="0" u="none" strike="noStrike" kern="1200" cap="none" spc="0" normalizeH="0" baseline="0" noProof="1">
              <a:ln>
                <a:noFill/>
              </a:ln>
              <a:solidFill>
                <a:srgbClr val="D1911D"/>
              </a:solidFill>
              <a:effectLst/>
              <a:uLnTx/>
              <a:uFillTx/>
              <a:latin typeface="DM Sans" pitchFamily="2" charset="77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99" name="Konektor: Siku 298">
            <a:extLst>
              <a:ext uri="{FF2B5EF4-FFF2-40B4-BE49-F238E27FC236}">
                <a16:creationId xmlns:a16="http://schemas.microsoft.com/office/drawing/2014/main" id="{FFF05443-368B-4B5D-6F0E-688D61ED4EA7}"/>
              </a:ext>
            </a:extLst>
          </p:cNvPr>
          <p:cNvCxnSpPr>
            <a:cxnSpLocks/>
            <a:stCxn id="292" idx="1"/>
          </p:cNvCxnSpPr>
          <p:nvPr/>
        </p:nvCxnSpPr>
        <p:spPr>
          <a:xfrm rot="10800000" flipV="1">
            <a:off x="9474289" y="5518597"/>
            <a:ext cx="396000" cy="0"/>
          </a:xfrm>
          <a:prstGeom prst="bentConnector3">
            <a:avLst>
              <a:gd name="adj1" fmla="val 50000"/>
            </a:avLst>
          </a:prstGeom>
          <a:ln w="38100">
            <a:solidFill>
              <a:schemeClr val="tx1"/>
            </a:solidFill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" name="Rectangle: Rounded Corners 5">
            <a:extLst>
              <a:ext uri="{FF2B5EF4-FFF2-40B4-BE49-F238E27FC236}">
                <a16:creationId xmlns:a16="http://schemas.microsoft.com/office/drawing/2014/main" id="{8FF485D6-7342-0510-1031-D6609EF7E323}"/>
              </a:ext>
            </a:extLst>
          </p:cNvPr>
          <p:cNvSpPr/>
          <p:nvPr/>
        </p:nvSpPr>
        <p:spPr>
          <a:xfrm>
            <a:off x="9903099" y="1890378"/>
            <a:ext cx="2229369" cy="978922"/>
          </a:xfrm>
          <a:prstGeom prst="ellipse">
            <a:avLst/>
          </a:prstGeom>
          <a:solidFill>
            <a:srgbClr val="FFFF00"/>
          </a:solidFill>
          <a:ln w="57150">
            <a:solidFill>
              <a:srgbClr val="FF0000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600" b="1" i="0" u="none" strike="noStrike" kern="1200" cap="none" spc="0" normalizeH="0" baseline="0" noProof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LSP BIDANG KONSTRUKSI</a:t>
            </a:r>
            <a:endParaRPr kumimoji="0" lang="en-ID" sz="1600" b="1" i="0" u="none" strike="noStrike" kern="1200" cap="none" spc="0" normalizeH="0" baseline="0" noProof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432DDE8-1AF0-984E-BDE4-2EE20D1ED9B2}"/>
              </a:ext>
            </a:extLst>
          </p:cNvPr>
          <p:cNvSpPr/>
          <p:nvPr/>
        </p:nvSpPr>
        <p:spPr>
          <a:xfrm>
            <a:off x="5761031" y="1445174"/>
            <a:ext cx="437065" cy="431059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EEE44EF-6A36-3BA2-39AC-0461DB28271E}"/>
              </a:ext>
            </a:extLst>
          </p:cNvPr>
          <p:cNvSpPr/>
          <p:nvPr/>
        </p:nvSpPr>
        <p:spPr>
          <a:xfrm>
            <a:off x="5883346" y="5337886"/>
            <a:ext cx="437065" cy="431059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73A5923-E777-CC04-D571-BD7B18E1255E}"/>
              </a:ext>
            </a:extLst>
          </p:cNvPr>
          <p:cNvSpPr/>
          <p:nvPr/>
        </p:nvSpPr>
        <p:spPr>
          <a:xfrm>
            <a:off x="5954657" y="3997144"/>
            <a:ext cx="437065" cy="431059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CA1FC36-9F47-3763-EF8C-27E57D47FD74}"/>
              </a:ext>
            </a:extLst>
          </p:cNvPr>
          <p:cNvSpPr/>
          <p:nvPr/>
        </p:nvSpPr>
        <p:spPr>
          <a:xfrm>
            <a:off x="8546393" y="770269"/>
            <a:ext cx="437065" cy="431059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AB74F42-8149-32B3-C9B9-0526F2D6E21D}"/>
              </a:ext>
            </a:extLst>
          </p:cNvPr>
          <p:cNvSpPr/>
          <p:nvPr/>
        </p:nvSpPr>
        <p:spPr>
          <a:xfrm>
            <a:off x="8706993" y="3966382"/>
            <a:ext cx="437065" cy="431059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58ED069-A347-BA24-9C09-364128476882}"/>
              </a:ext>
            </a:extLst>
          </p:cNvPr>
          <p:cNvSpPr/>
          <p:nvPr/>
        </p:nvSpPr>
        <p:spPr>
          <a:xfrm>
            <a:off x="11609317" y="4666698"/>
            <a:ext cx="437065" cy="431059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071B3F2-C4C4-88D9-A8E0-62871A4A0176}"/>
              </a:ext>
            </a:extLst>
          </p:cNvPr>
          <p:cNvSpPr/>
          <p:nvPr/>
        </p:nvSpPr>
        <p:spPr>
          <a:xfrm>
            <a:off x="9729999" y="1572902"/>
            <a:ext cx="437065" cy="431059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Kotak Teks 4">
            <a:extLst>
              <a:ext uri="{FF2B5EF4-FFF2-40B4-BE49-F238E27FC236}">
                <a16:creationId xmlns:a16="http://schemas.microsoft.com/office/drawing/2014/main" id="{B59A597F-B4C2-1D28-DE75-983CF909AD5A}"/>
              </a:ext>
            </a:extLst>
          </p:cNvPr>
          <p:cNvSpPr txBox="1"/>
          <p:nvPr/>
        </p:nvSpPr>
        <p:spPr>
          <a:xfrm>
            <a:off x="9376091" y="659464"/>
            <a:ext cx="2838994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LSP </a:t>
            </a:r>
            <a:r>
              <a:rPr kumimoji="0" lang="en-US" sz="105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harus</a:t>
            </a: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 </a:t>
            </a:r>
            <a:r>
              <a:rPr kumimoji="0" lang="en-US" sz="105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mampu</a:t>
            </a: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 </a:t>
            </a:r>
            <a:r>
              <a:rPr kumimoji="0" lang="en-US" sz="105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memahami</a:t>
            </a: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 dan </a:t>
            </a:r>
            <a:r>
              <a:rPr kumimoji="0" lang="en-US" sz="105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menterjemahkan</a:t>
            </a: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 PP 14, PBNSP, SE LPJK, </a:t>
            </a:r>
            <a:r>
              <a:rPr kumimoji="0" lang="en-US" sz="105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Buku</a:t>
            </a: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 </a:t>
            </a:r>
            <a:r>
              <a:rPr kumimoji="0" lang="en-US" sz="105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Asesor</a:t>
            </a: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 2023, dan </a:t>
            </a:r>
            <a:r>
              <a:rPr kumimoji="0" lang="en-US" sz="105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ketentuan</a:t>
            </a: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 lain yang </a:t>
            </a:r>
            <a:r>
              <a:rPr kumimoji="0" lang="en-US" sz="105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terkait</a:t>
            </a: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 </a:t>
            </a:r>
            <a:r>
              <a:rPr kumimoji="0" lang="en-US" sz="105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dalam</a:t>
            </a: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 </a:t>
            </a:r>
            <a:r>
              <a:rPr kumimoji="0" lang="en-US" sz="105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rangka</a:t>
            </a: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 </a:t>
            </a:r>
            <a:r>
              <a:rPr kumimoji="0" lang="en-US" sz="105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memperoleh</a:t>
            </a: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 / </a:t>
            </a:r>
            <a:r>
              <a:rPr kumimoji="0" lang="en-US" sz="105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mempercepat</a:t>
            </a: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 </a:t>
            </a:r>
            <a:r>
              <a:rPr kumimoji="0" lang="en-US" sz="105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lisensi</a:t>
            </a: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 </a:t>
            </a:r>
            <a:r>
              <a:rPr kumimoji="0" lang="en-US" sz="105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dari</a:t>
            </a: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 BNSP.</a:t>
            </a:r>
            <a:endParaRPr kumimoji="0" lang="id-ID" sz="105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39B301E-3FE2-1D98-777C-CCD0301E23F4}"/>
              </a:ext>
            </a:extLst>
          </p:cNvPr>
          <p:cNvSpPr/>
          <p:nvPr/>
        </p:nvSpPr>
        <p:spPr>
          <a:xfrm rot="16200000">
            <a:off x="9620406" y="3236207"/>
            <a:ext cx="978921" cy="431059"/>
          </a:xfrm>
          <a:prstGeom prst="roundRect">
            <a:avLst/>
          </a:prstGeom>
          <a:solidFill>
            <a:srgbClr val="AAD29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Witness</a:t>
            </a:r>
            <a:endParaRPr kumimoji="0" lang="en-ID" sz="1400" b="1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pic>
        <p:nvPicPr>
          <p:cNvPr id="7" name="Picture 6" descr="lgo sigap.png">
            <a:extLst>
              <a:ext uri="{FF2B5EF4-FFF2-40B4-BE49-F238E27FC236}">
                <a16:creationId xmlns:a16="http://schemas.microsoft.com/office/drawing/2014/main" id="{4DDC8CB2-BBD6-1F9E-AB4F-FF3CD791BF8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15" name="Round Same Side Corner Rectangle 1">
            <a:extLst>
              <a:ext uri="{FF2B5EF4-FFF2-40B4-BE49-F238E27FC236}">
                <a16:creationId xmlns:a16="http://schemas.microsoft.com/office/drawing/2014/main" id="{676B63D8-2BB5-EBF9-A0D0-C55F95589C7E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1EE027-523F-6EA3-A121-F4455A796929}"/>
              </a:ext>
            </a:extLst>
          </p:cNvPr>
          <p:cNvSpPr txBox="1">
            <a:spLocks/>
          </p:cNvSpPr>
          <p:nvPr/>
        </p:nvSpPr>
        <p:spPr>
          <a:xfrm>
            <a:off x="173393" y="81235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"/>
                <a:ea typeface="+mj-ea"/>
                <a:cs typeface="+mj-cs"/>
              </a:rPr>
              <a:t>ALUR PEMBENTUKAN LSP BIDANG KONSTRUKSI</a:t>
            </a:r>
          </a:p>
        </p:txBody>
      </p:sp>
      <p:sp>
        <p:nvSpPr>
          <p:cNvPr id="17" name="Kotak Teks 2">
            <a:extLst>
              <a:ext uri="{FF2B5EF4-FFF2-40B4-BE49-F238E27FC236}">
                <a16:creationId xmlns:a16="http://schemas.microsoft.com/office/drawing/2014/main" id="{626D091E-A3D9-DE71-35D5-60B1B4169D88}"/>
              </a:ext>
            </a:extLst>
          </p:cNvPr>
          <p:cNvSpPr txBox="1"/>
          <p:nvPr/>
        </p:nvSpPr>
        <p:spPr>
          <a:xfrm>
            <a:off x="6612241" y="3676072"/>
            <a:ext cx="273498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0"/>
                <a:ea typeface="+mn-ea"/>
                <a:cs typeface="+mn-cs"/>
              </a:rPr>
              <a:t>https://siki.pu.go.id/rekomendasi-Isp</a:t>
            </a:r>
            <a:endParaRPr kumimoji="0" lang="id-ID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18" name="Kotak Teks 2">
            <a:extLst>
              <a:ext uri="{FF2B5EF4-FFF2-40B4-BE49-F238E27FC236}">
                <a16:creationId xmlns:a16="http://schemas.microsoft.com/office/drawing/2014/main" id="{CDE236EF-129B-C55E-F512-CE087B853FBC}"/>
              </a:ext>
            </a:extLst>
          </p:cNvPr>
          <p:cNvSpPr txBox="1"/>
          <p:nvPr/>
        </p:nvSpPr>
        <p:spPr>
          <a:xfrm>
            <a:off x="3876174" y="3575668"/>
            <a:ext cx="273498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0"/>
                <a:ea typeface="+mn-ea"/>
                <a:cs typeface="+mn-cs"/>
              </a:rPr>
              <a:t>https://siki.pu.go.id/rekomendasi-Isp</a:t>
            </a:r>
            <a:endParaRPr kumimoji="0" lang="id-ID" sz="11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759433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rsegi Panjang: Sudut Lengkung 1">
            <a:extLst>
              <a:ext uri="{FF2B5EF4-FFF2-40B4-BE49-F238E27FC236}">
                <a16:creationId xmlns:a16="http://schemas.microsoft.com/office/drawing/2014/main" id="{D78C6A7A-F47F-791F-B3A9-A270EA5479CF}"/>
              </a:ext>
            </a:extLst>
          </p:cNvPr>
          <p:cNvSpPr/>
          <p:nvPr/>
        </p:nvSpPr>
        <p:spPr>
          <a:xfrm>
            <a:off x="-1" y="717921"/>
            <a:ext cx="9056049" cy="2483267"/>
          </a:xfrm>
          <a:prstGeom prst="roundRect">
            <a:avLst/>
          </a:prstGeom>
          <a:gradFill flip="none" rotWithShape="1">
            <a:gsLst>
              <a:gs pos="0">
                <a:schemeClr val="accent4">
                  <a:tint val="66000"/>
                  <a:satMod val="160000"/>
                  <a:alpha val="48000"/>
                </a:schemeClr>
              </a:gs>
              <a:gs pos="62000">
                <a:schemeClr val="accent4">
                  <a:tint val="44500"/>
                  <a:satMod val="160000"/>
                  <a:alpha val="40000"/>
                </a:schemeClr>
              </a:gs>
              <a:gs pos="95000">
                <a:schemeClr val="accent4">
                  <a:tint val="23500"/>
                  <a:satMod val="16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9634A0AF-87EA-527F-57F3-E0510CC1193F}"/>
              </a:ext>
            </a:extLst>
          </p:cNvPr>
          <p:cNvSpPr/>
          <p:nvPr/>
        </p:nvSpPr>
        <p:spPr>
          <a:xfrm>
            <a:off x="8616990" y="5671293"/>
            <a:ext cx="1107817" cy="761855"/>
          </a:xfrm>
          <a:prstGeom prst="rect">
            <a:avLst/>
          </a:prstGeom>
          <a:ln>
            <a:noFill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SP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rasional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440" y="1424785"/>
            <a:ext cx="767596" cy="767596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148096" y="974276"/>
            <a:ext cx="480447" cy="45051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9" name="Right Arrow 8"/>
          <p:cNvSpPr/>
          <p:nvPr/>
        </p:nvSpPr>
        <p:spPr>
          <a:xfrm>
            <a:off x="1348354" y="1645851"/>
            <a:ext cx="263471" cy="325464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69885" y="1424785"/>
            <a:ext cx="659108" cy="659108"/>
          </a:xfrm>
          <a:prstGeom prst="rect">
            <a:avLst/>
          </a:prstGeom>
        </p:spPr>
      </p:pic>
      <p:sp>
        <p:nvSpPr>
          <p:cNvPr id="11" name="Oval 10"/>
          <p:cNvSpPr/>
          <p:nvPr/>
        </p:nvSpPr>
        <p:spPr>
          <a:xfrm>
            <a:off x="1829662" y="978098"/>
            <a:ext cx="480447" cy="45051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88441" y="2265450"/>
            <a:ext cx="6367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SP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590132" y="2083894"/>
            <a:ext cx="16186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Service BNSP 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2966416" y="1754339"/>
            <a:ext cx="2423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3208746" y="1591607"/>
            <a:ext cx="340366" cy="3254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8" name="Straight Connector 17"/>
          <p:cNvCxnSpPr>
            <a:stCxn id="16" idx="2"/>
          </p:cNvCxnSpPr>
          <p:nvPr/>
        </p:nvCxnSpPr>
        <p:spPr>
          <a:xfrm>
            <a:off x="3378929" y="1917072"/>
            <a:ext cx="0" cy="8131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2555076" y="2730225"/>
            <a:ext cx="16477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kum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da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ngkap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?</a:t>
            </a:r>
          </a:p>
        </p:txBody>
      </p:sp>
      <p:cxnSp>
        <p:nvCxnSpPr>
          <p:cNvPr id="22" name="Straight Connector 21"/>
          <p:cNvCxnSpPr/>
          <p:nvPr/>
        </p:nvCxnSpPr>
        <p:spPr>
          <a:xfrm flipH="1" flipV="1">
            <a:off x="610549" y="3006195"/>
            <a:ext cx="2118445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endCxn id="12" idx="2"/>
          </p:cNvCxnSpPr>
          <p:nvPr/>
        </p:nvCxnSpPr>
        <p:spPr>
          <a:xfrm flipV="1">
            <a:off x="603591" y="2634782"/>
            <a:ext cx="3207" cy="3707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3549112" y="1754339"/>
            <a:ext cx="2423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3823420" y="1492730"/>
            <a:ext cx="9980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kum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ngkap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?</a:t>
            </a: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48390" y="1375829"/>
            <a:ext cx="708064" cy="708064"/>
          </a:xfrm>
          <a:prstGeom prst="rect">
            <a:avLst/>
          </a:prstGeom>
        </p:spPr>
      </p:pic>
      <p:sp>
        <p:nvSpPr>
          <p:cNvPr id="32" name="Oval 31"/>
          <p:cNvSpPr/>
          <p:nvPr/>
        </p:nvSpPr>
        <p:spPr>
          <a:xfrm>
            <a:off x="5210953" y="986510"/>
            <a:ext cx="480447" cy="45051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993116" y="2129098"/>
            <a:ext cx="16186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resias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Right Arrow 33"/>
          <p:cNvSpPr/>
          <p:nvPr/>
        </p:nvSpPr>
        <p:spPr>
          <a:xfrm>
            <a:off x="4894014" y="1641132"/>
            <a:ext cx="263471" cy="325464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Right Arrow 34"/>
          <p:cNvSpPr/>
          <p:nvPr/>
        </p:nvSpPr>
        <p:spPr>
          <a:xfrm>
            <a:off x="6507388" y="1644437"/>
            <a:ext cx="263471" cy="325464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7022314" y="986510"/>
            <a:ext cx="480447" cy="45051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90819" y="1424785"/>
            <a:ext cx="704312" cy="704312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6950970" y="2129098"/>
            <a:ext cx="18764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ifikas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kema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bker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9" name="Straight Connector 38"/>
          <p:cNvCxnSpPr/>
          <p:nvPr/>
        </p:nvCxnSpPr>
        <p:spPr>
          <a:xfrm>
            <a:off x="8551028" y="1803864"/>
            <a:ext cx="2423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/>
        </p:nvSpPr>
        <p:spPr>
          <a:xfrm>
            <a:off x="8793358" y="1641132"/>
            <a:ext cx="340366" cy="3254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1" name="Straight Connector 40"/>
          <p:cNvCxnSpPr/>
          <p:nvPr/>
        </p:nvCxnSpPr>
        <p:spPr>
          <a:xfrm>
            <a:off x="9133724" y="1819810"/>
            <a:ext cx="2423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9376055" y="1515332"/>
            <a:ext cx="9980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kum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ngkap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?</a:t>
            </a:r>
          </a:p>
        </p:txBody>
      </p:sp>
      <p:sp>
        <p:nvSpPr>
          <p:cNvPr id="43" name="Right Arrow 42"/>
          <p:cNvSpPr/>
          <p:nvPr/>
        </p:nvSpPr>
        <p:spPr>
          <a:xfrm>
            <a:off x="10451745" y="1641132"/>
            <a:ext cx="263471" cy="325464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4" name="Straight Connector 43"/>
          <p:cNvCxnSpPr/>
          <p:nvPr/>
        </p:nvCxnSpPr>
        <p:spPr>
          <a:xfrm flipH="1">
            <a:off x="8963541" y="1966597"/>
            <a:ext cx="1" cy="66818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8139687" y="2603900"/>
            <a:ext cx="16477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kum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da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ngkap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?</a:t>
            </a:r>
          </a:p>
        </p:txBody>
      </p:sp>
      <p:cxnSp>
        <p:nvCxnSpPr>
          <p:cNvPr id="46" name="Straight Connector 45"/>
          <p:cNvCxnSpPr/>
          <p:nvPr/>
        </p:nvCxnSpPr>
        <p:spPr>
          <a:xfrm flipH="1" flipV="1">
            <a:off x="7942975" y="3004474"/>
            <a:ext cx="378784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 flipV="1">
            <a:off x="7953806" y="2496749"/>
            <a:ext cx="2724" cy="5077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Picture 5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010337" y="1447919"/>
            <a:ext cx="704312" cy="704312"/>
          </a:xfrm>
          <a:prstGeom prst="rect">
            <a:avLst/>
          </a:prstGeom>
        </p:spPr>
      </p:pic>
      <p:sp>
        <p:nvSpPr>
          <p:cNvPr id="52" name="TextBox 51"/>
          <p:cNvSpPr txBox="1"/>
          <p:nvPr/>
        </p:nvSpPr>
        <p:spPr>
          <a:xfrm>
            <a:off x="10553186" y="2152232"/>
            <a:ext cx="16186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unjuk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im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esme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Down Arrow 53"/>
          <p:cNvSpPr/>
          <p:nvPr/>
        </p:nvSpPr>
        <p:spPr>
          <a:xfrm>
            <a:off x="11187533" y="2917050"/>
            <a:ext cx="349921" cy="280170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Oval 54"/>
          <p:cNvSpPr/>
          <p:nvPr/>
        </p:nvSpPr>
        <p:spPr>
          <a:xfrm>
            <a:off x="10643828" y="977874"/>
            <a:ext cx="480447" cy="45051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10337" y="3577863"/>
            <a:ext cx="704312" cy="704312"/>
          </a:xfrm>
          <a:prstGeom prst="rect">
            <a:avLst/>
          </a:prstGeom>
        </p:spPr>
      </p:pic>
      <p:sp>
        <p:nvSpPr>
          <p:cNvPr id="57" name="Oval 56"/>
          <p:cNvSpPr/>
          <p:nvPr/>
        </p:nvSpPr>
        <p:spPr>
          <a:xfrm>
            <a:off x="10643827" y="3179234"/>
            <a:ext cx="480447" cy="45051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10564430" y="4279978"/>
            <a:ext cx="16186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laksana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ull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esme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Left Arrow 59"/>
          <p:cNvSpPr/>
          <p:nvPr/>
        </p:nvSpPr>
        <p:spPr>
          <a:xfrm>
            <a:off x="10264076" y="3956813"/>
            <a:ext cx="300354" cy="323165"/>
          </a:xfrm>
          <a:prstGeom prst="lef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92792" y="3629744"/>
            <a:ext cx="704312" cy="704312"/>
          </a:xfrm>
          <a:prstGeom prst="rect">
            <a:avLst/>
          </a:prstGeom>
        </p:spPr>
      </p:pic>
      <p:sp>
        <p:nvSpPr>
          <p:cNvPr id="62" name="TextBox 61"/>
          <p:cNvSpPr txBox="1"/>
          <p:nvPr/>
        </p:nvSpPr>
        <p:spPr>
          <a:xfrm>
            <a:off x="8265462" y="4262516"/>
            <a:ext cx="22728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esme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unggu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sil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baik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LSP</a:t>
            </a: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47059" y="3689748"/>
            <a:ext cx="534129" cy="534129"/>
          </a:xfrm>
          <a:prstGeom prst="rect">
            <a:avLst/>
          </a:prstGeom>
        </p:spPr>
      </p:pic>
      <p:sp>
        <p:nvSpPr>
          <p:cNvPr id="64" name="Oval 63"/>
          <p:cNvSpPr/>
          <p:nvPr/>
        </p:nvSpPr>
        <p:spPr>
          <a:xfrm>
            <a:off x="8716797" y="3190508"/>
            <a:ext cx="480447" cy="45051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</a:t>
            </a:r>
          </a:p>
        </p:txBody>
      </p:sp>
      <p:sp>
        <p:nvSpPr>
          <p:cNvPr id="66" name="Left Arrow 65"/>
          <p:cNvSpPr/>
          <p:nvPr/>
        </p:nvSpPr>
        <p:spPr>
          <a:xfrm>
            <a:off x="8228130" y="3939351"/>
            <a:ext cx="300354" cy="323165"/>
          </a:xfrm>
          <a:prstGeom prst="lef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6308530" y="4349429"/>
            <a:ext cx="2272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pa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eno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Oval 67"/>
          <p:cNvSpPr/>
          <p:nvPr/>
        </p:nvSpPr>
        <p:spPr>
          <a:xfrm>
            <a:off x="6702634" y="3190508"/>
            <a:ext cx="480447" cy="45051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</a:p>
        </p:txBody>
      </p:sp>
      <p:sp>
        <p:nvSpPr>
          <p:cNvPr id="69" name="Left Arrow 68"/>
          <p:cNvSpPr/>
          <p:nvPr/>
        </p:nvSpPr>
        <p:spPr>
          <a:xfrm>
            <a:off x="4394712" y="3940627"/>
            <a:ext cx="300354" cy="323165"/>
          </a:xfrm>
          <a:prstGeom prst="lef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6073596" y="3939350"/>
            <a:ext cx="340366" cy="3254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3" name="Straight Connector 72"/>
          <p:cNvCxnSpPr>
            <a:stCxn id="70" idx="3"/>
          </p:cNvCxnSpPr>
          <p:nvPr/>
        </p:nvCxnSpPr>
        <p:spPr>
          <a:xfrm flipV="1">
            <a:off x="6413962" y="4100932"/>
            <a:ext cx="356897" cy="11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 flipV="1">
            <a:off x="5713040" y="4127462"/>
            <a:ext cx="356897" cy="11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>
            <a:off x="6243778" y="4263322"/>
            <a:ext cx="0" cy="8131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/>
          <p:cNvSpPr txBox="1"/>
          <p:nvPr/>
        </p:nvSpPr>
        <p:spPr>
          <a:xfrm>
            <a:off x="5429599" y="5145286"/>
            <a:ext cx="16477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da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etuju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?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4496276" y="3915898"/>
            <a:ext cx="16477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etuju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?</a:t>
            </a:r>
          </a:p>
        </p:txBody>
      </p:sp>
      <p:cxnSp>
        <p:nvCxnSpPr>
          <p:cNvPr id="78" name="Straight Connector 77"/>
          <p:cNvCxnSpPr/>
          <p:nvPr/>
        </p:nvCxnSpPr>
        <p:spPr>
          <a:xfrm flipH="1" flipV="1">
            <a:off x="6950972" y="5303470"/>
            <a:ext cx="2450910" cy="152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/>
          <p:cNvCxnSpPr/>
          <p:nvPr/>
        </p:nvCxnSpPr>
        <p:spPr>
          <a:xfrm flipV="1">
            <a:off x="9401881" y="5118478"/>
            <a:ext cx="0" cy="1984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2" name="Picture 8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0728" y="3689747"/>
            <a:ext cx="930530" cy="1033372"/>
          </a:xfrm>
          <a:prstGeom prst="rect">
            <a:avLst/>
          </a:prstGeom>
        </p:spPr>
      </p:pic>
      <p:sp>
        <p:nvSpPr>
          <p:cNvPr id="83" name="Oval 82"/>
          <p:cNvSpPr/>
          <p:nvPr/>
        </p:nvSpPr>
        <p:spPr>
          <a:xfrm>
            <a:off x="2968523" y="3318122"/>
            <a:ext cx="480447" cy="45051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2907280" y="4621676"/>
            <a:ext cx="22802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erbit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K &amp;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tifika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sens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Down Arrow 84"/>
          <p:cNvSpPr/>
          <p:nvPr/>
        </p:nvSpPr>
        <p:spPr>
          <a:xfrm>
            <a:off x="2737661" y="5405010"/>
            <a:ext cx="349921" cy="280170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6570726" y="5936559"/>
            <a:ext cx="1429676" cy="391084"/>
          </a:xfrm>
          <a:prstGeom prst="rect">
            <a:avLst/>
          </a:prstGeom>
          <a:ln>
            <a:noFill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ness</a:t>
            </a:r>
          </a:p>
        </p:txBody>
      </p:sp>
      <p:sp>
        <p:nvSpPr>
          <p:cNvPr id="87" name="Oval 86"/>
          <p:cNvSpPr/>
          <p:nvPr/>
        </p:nvSpPr>
        <p:spPr>
          <a:xfrm>
            <a:off x="7552593" y="5484824"/>
            <a:ext cx="650929" cy="50542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</a:t>
            </a:r>
          </a:p>
        </p:txBody>
      </p:sp>
      <p:sp>
        <p:nvSpPr>
          <p:cNvPr id="88" name="Right Arrow 87"/>
          <p:cNvSpPr/>
          <p:nvPr/>
        </p:nvSpPr>
        <p:spPr>
          <a:xfrm>
            <a:off x="8177106" y="5969593"/>
            <a:ext cx="263471" cy="325464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0" name="Oval 89"/>
          <p:cNvSpPr/>
          <p:nvPr/>
        </p:nvSpPr>
        <p:spPr>
          <a:xfrm>
            <a:off x="9464038" y="5550777"/>
            <a:ext cx="650929" cy="50542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10583480" y="6546313"/>
            <a:ext cx="256623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mber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LPJK dan BNSP</a:t>
            </a:r>
          </a:p>
        </p:txBody>
      </p:sp>
      <p:sp>
        <p:nvSpPr>
          <p:cNvPr id="95" name="Rectangle 94"/>
          <p:cNvSpPr/>
          <p:nvPr/>
        </p:nvSpPr>
        <p:spPr>
          <a:xfrm>
            <a:off x="93809" y="3268805"/>
            <a:ext cx="1950641" cy="302625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619A2CDC-6D33-C30D-1EE0-1714C3BB343D}"/>
              </a:ext>
            </a:extLst>
          </p:cNvPr>
          <p:cNvSpPr txBox="1"/>
          <p:nvPr/>
        </p:nvSpPr>
        <p:spPr>
          <a:xfrm>
            <a:off x="5986071" y="6380897"/>
            <a:ext cx="26989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esm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tam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ali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ngg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rb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KK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ektronik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269D0B88-B2F8-A01B-9C11-77008086620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837473B0-CC2E-450A-ABE3-18F120FF3D39}">
                <a1611:picAttrSrcUrl xmlns:a1611="http://schemas.microsoft.com/office/drawing/2016/11/main" r:id="rId13"/>
              </a:ext>
            </a:extLst>
          </a:blip>
          <a:stretch>
            <a:fillRect/>
          </a:stretch>
        </p:blipFill>
        <p:spPr>
          <a:xfrm>
            <a:off x="4244796" y="5652473"/>
            <a:ext cx="1742687" cy="970253"/>
          </a:xfrm>
          <a:prstGeom prst="rect">
            <a:avLst/>
          </a:prstGeom>
        </p:spPr>
      </p:pic>
      <p:sp>
        <p:nvSpPr>
          <p:cNvPr id="97" name="TextBox 96">
            <a:extLst>
              <a:ext uri="{FF2B5EF4-FFF2-40B4-BE49-F238E27FC236}">
                <a16:creationId xmlns:a16="http://schemas.microsoft.com/office/drawing/2014/main" id="{A10C87F1-09E5-CD9D-5045-365F09C51387}"/>
              </a:ext>
            </a:extLst>
          </p:cNvPr>
          <p:cNvSpPr txBox="1"/>
          <p:nvPr/>
        </p:nvSpPr>
        <p:spPr>
          <a:xfrm>
            <a:off x="4463621" y="6531656"/>
            <a:ext cx="13877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grasi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stem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198EF5AA-8CA4-4F72-C680-18BDEED3AA88}"/>
              </a:ext>
            </a:extLst>
          </p:cNvPr>
          <p:cNvSpPr/>
          <p:nvPr/>
        </p:nvSpPr>
        <p:spPr>
          <a:xfrm>
            <a:off x="2257602" y="5930742"/>
            <a:ext cx="1429676" cy="646330"/>
          </a:xfrm>
          <a:prstGeom prst="rect">
            <a:avLst/>
          </a:prstGeom>
          <a:ln>
            <a:noFill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catata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SP</a:t>
            </a:r>
          </a:p>
        </p:txBody>
      </p:sp>
      <p:sp>
        <p:nvSpPr>
          <p:cNvPr id="99" name="Right Arrow 87">
            <a:extLst>
              <a:ext uri="{FF2B5EF4-FFF2-40B4-BE49-F238E27FC236}">
                <a16:creationId xmlns:a16="http://schemas.microsoft.com/office/drawing/2014/main" id="{BBBF322F-87D0-121C-CE87-5331A533B510}"/>
              </a:ext>
            </a:extLst>
          </p:cNvPr>
          <p:cNvSpPr/>
          <p:nvPr/>
        </p:nvSpPr>
        <p:spPr>
          <a:xfrm>
            <a:off x="3863692" y="6071797"/>
            <a:ext cx="263471" cy="325464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0" name="Right Arrow 87">
            <a:extLst>
              <a:ext uri="{FF2B5EF4-FFF2-40B4-BE49-F238E27FC236}">
                <a16:creationId xmlns:a16="http://schemas.microsoft.com/office/drawing/2014/main" id="{01D70BB2-B96C-EF8D-213E-DA901018F878}"/>
              </a:ext>
            </a:extLst>
          </p:cNvPr>
          <p:cNvSpPr/>
          <p:nvPr/>
        </p:nvSpPr>
        <p:spPr>
          <a:xfrm>
            <a:off x="6098442" y="6048617"/>
            <a:ext cx="263471" cy="325464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DC564891-9CC3-6062-51DD-01A4CCCC45E5}"/>
              </a:ext>
            </a:extLst>
          </p:cNvPr>
          <p:cNvSpPr/>
          <p:nvPr/>
        </p:nvSpPr>
        <p:spPr>
          <a:xfrm>
            <a:off x="3378704" y="5585926"/>
            <a:ext cx="650929" cy="50542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</a:t>
            </a: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CAD5D588-86C5-63E5-747C-12A2A49E3F16}"/>
              </a:ext>
            </a:extLst>
          </p:cNvPr>
          <p:cNvSpPr/>
          <p:nvPr/>
        </p:nvSpPr>
        <p:spPr>
          <a:xfrm>
            <a:off x="4761229" y="5308704"/>
            <a:ext cx="650929" cy="50542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</a:t>
            </a:r>
          </a:p>
        </p:txBody>
      </p:sp>
      <p:sp>
        <p:nvSpPr>
          <p:cNvPr id="23" name="Kotak Teks 22">
            <a:extLst>
              <a:ext uri="{FF2B5EF4-FFF2-40B4-BE49-F238E27FC236}">
                <a16:creationId xmlns:a16="http://schemas.microsoft.com/office/drawing/2014/main" id="{9FAF786D-A239-03AF-838B-66638E1A43AD}"/>
              </a:ext>
            </a:extLst>
          </p:cNvPr>
          <p:cNvSpPr txBox="1"/>
          <p:nvPr/>
        </p:nvSpPr>
        <p:spPr>
          <a:xfrm>
            <a:off x="2625234" y="908829"/>
            <a:ext cx="244279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komendasi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sensi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LSP</a:t>
            </a: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 Hari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telah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kumen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ngkap</a:t>
            </a:r>
            <a:endParaRPr kumimoji="0" lang="id-ID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Kotak Teks 13">
            <a:extLst>
              <a:ext uri="{FF2B5EF4-FFF2-40B4-BE49-F238E27FC236}">
                <a16:creationId xmlns:a16="http://schemas.microsoft.com/office/drawing/2014/main" id="{8C540981-88BB-4377-A99E-F7F8CBD5E85F}"/>
              </a:ext>
            </a:extLst>
          </p:cNvPr>
          <p:cNvSpPr txBox="1"/>
          <p:nvPr/>
        </p:nvSpPr>
        <p:spPr>
          <a:xfrm>
            <a:off x="10295464" y="4787994"/>
            <a:ext cx="20027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0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ri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elah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kumen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ngkap</a:t>
            </a:r>
            <a:endParaRPr kumimoji="0" lang="id-ID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1" name="Grup 20">
            <a:extLst>
              <a:ext uri="{FF2B5EF4-FFF2-40B4-BE49-F238E27FC236}">
                <a16:creationId xmlns:a16="http://schemas.microsoft.com/office/drawing/2014/main" id="{9E788C9E-5155-F140-8652-5DA0AA227E96}"/>
              </a:ext>
            </a:extLst>
          </p:cNvPr>
          <p:cNvGrpSpPr/>
          <p:nvPr/>
        </p:nvGrpSpPr>
        <p:grpSpPr>
          <a:xfrm>
            <a:off x="92571" y="3288290"/>
            <a:ext cx="1960275" cy="2988378"/>
            <a:chOff x="92570" y="3288288"/>
            <a:chExt cx="1960275" cy="2988378"/>
          </a:xfrm>
        </p:grpSpPr>
        <p:sp>
          <p:nvSpPr>
            <p:cNvPr id="96" name="TextBox 95"/>
            <p:cNvSpPr txBox="1"/>
            <p:nvPr/>
          </p:nvSpPr>
          <p:spPr>
            <a:xfrm>
              <a:off x="92570" y="3288288"/>
              <a:ext cx="1960275" cy="1892826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OKUMEN YANG HARUS DIBAWA </a:t>
              </a:r>
            </a:p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Pada </a:t>
              </a:r>
              <a:r>
                <a:rPr kumimoji="0" lang="en-US" sz="9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aat</a:t>
              </a: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9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presiasi</a:t>
              </a: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)</a:t>
              </a:r>
            </a:p>
            <a:p>
              <a:pPr marL="285764" marR="0" lvl="0" indent="-285764" algn="l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ambaran /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formasi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mum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engenai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LSP</a:t>
              </a:r>
            </a:p>
            <a:p>
              <a:pPr marL="285764" marR="0" lvl="0" indent="-285764" algn="l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ukti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embentukan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LSP</a:t>
              </a:r>
            </a:p>
            <a:p>
              <a:pPr marL="285764" marR="0" lvl="0" indent="-285764" algn="l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uang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ingkup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isensi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/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abker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ertifikasi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fesi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285764" marR="0" lvl="0" indent="-285764" algn="l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okumen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istem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najemen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utu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LSP (Checklist CLSP)</a:t>
              </a:r>
            </a:p>
            <a:p>
              <a:pPr marL="285764" marR="0" lvl="0" indent="-285764" algn="l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ukti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enerapan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istem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najemen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utu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285764" marR="0" lvl="0" indent="-285764" algn="l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urat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ersetujuan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ukungan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/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komendasi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isensi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LSP</a:t>
              </a:r>
            </a:p>
          </p:txBody>
        </p:sp>
        <p:sp>
          <p:nvSpPr>
            <p:cNvPr id="19" name="TextBox 95">
              <a:extLst>
                <a:ext uri="{FF2B5EF4-FFF2-40B4-BE49-F238E27FC236}">
                  <a16:creationId xmlns:a16="http://schemas.microsoft.com/office/drawing/2014/main" id="{C364069D-CC3C-08F8-C2AE-76B67C0CF64A}"/>
                </a:ext>
              </a:extLst>
            </p:cNvPr>
            <p:cNvSpPr txBox="1"/>
            <p:nvPr/>
          </p:nvSpPr>
          <p:spPr>
            <a:xfrm>
              <a:off x="101626" y="5214837"/>
              <a:ext cx="1950640" cy="106182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OKUMEN YANG HARUS DIBAWA </a:t>
              </a:r>
            </a:p>
            <a:p>
              <a:pPr marL="0" marR="0" lvl="0" indent="0" algn="ct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Pada </a:t>
              </a:r>
              <a:r>
                <a:rPr kumimoji="0" lang="en-US" sz="9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aat</a:t>
              </a: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Full </a:t>
              </a:r>
              <a:r>
                <a:rPr kumimoji="0" lang="en-US" sz="9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sesmen</a:t>
              </a: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)</a:t>
              </a:r>
            </a:p>
            <a:p>
              <a:pPr marL="285764" marR="0" lvl="0" indent="-285764" algn="l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ok. Uji Coba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sesmen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/ MUK</a:t>
              </a:r>
            </a:p>
            <a:p>
              <a:pPr marL="285764" marR="0" lvl="0" indent="-285764" algn="l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uku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Panduan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utu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285764" marR="0" lvl="0" indent="-285764" algn="l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OP</a:t>
              </a:r>
            </a:p>
            <a:p>
              <a:pPr marL="285764" marR="0" lvl="0" indent="-285764" algn="l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ok. Audit Internal</a:t>
              </a:r>
            </a:p>
            <a:p>
              <a:pPr marL="285764" marR="0" lvl="0" indent="-285764" algn="l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ok.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etidak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rpihakan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B302BCDA-5339-E72D-6F70-231D7B3C0BF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415592" y="3784208"/>
            <a:ext cx="752752" cy="1059262"/>
          </a:xfrm>
          <a:prstGeom prst="rect">
            <a:avLst/>
          </a:prstGeom>
        </p:spPr>
      </p:pic>
      <p:pic>
        <p:nvPicPr>
          <p:cNvPr id="24" name="Picture 23" descr="lgo sigap.png">
            <a:extLst>
              <a:ext uri="{FF2B5EF4-FFF2-40B4-BE49-F238E27FC236}">
                <a16:creationId xmlns:a16="http://schemas.microsoft.com/office/drawing/2014/main" id="{1F2AD94C-D2FF-8294-AC33-00A5BBF70A2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26" name="Round Same Side Corner Rectangle 1">
            <a:extLst>
              <a:ext uri="{FF2B5EF4-FFF2-40B4-BE49-F238E27FC236}">
                <a16:creationId xmlns:a16="http://schemas.microsoft.com/office/drawing/2014/main" id="{DB3E9473-02A2-524F-0D40-F61949322305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7B1DF6E4-4963-4323-AFA6-A7B9A12A90D8}"/>
              </a:ext>
            </a:extLst>
          </p:cNvPr>
          <p:cNvSpPr txBox="1">
            <a:spLocks/>
          </p:cNvSpPr>
          <p:nvPr/>
        </p:nvSpPr>
        <p:spPr>
          <a:xfrm>
            <a:off x="173393" y="81235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Segoe UI"/>
                <a:ea typeface="+mj-ea"/>
                <a:cs typeface="+mj-cs"/>
              </a:rPr>
              <a:t>PROSES PENGAJUAN LISENSI LSP BARU KONSTRUKSI DI BNSP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Segoe UI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02642994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FA58262B-98DA-974C-9ED2-A03DB3FCD554}"/>
              </a:ext>
            </a:extLst>
          </p:cNvPr>
          <p:cNvSpPr/>
          <p:nvPr/>
        </p:nvSpPr>
        <p:spPr>
          <a:xfrm>
            <a:off x="6273026" y="854310"/>
            <a:ext cx="5346160" cy="5833963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74A90"/>
              </a:solidFill>
            </a:endParaRP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A2F89CD-C4D8-E60F-DE98-C0829C7BCFF0}"/>
              </a:ext>
            </a:extLst>
          </p:cNvPr>
          <p:cNvSpPr/>
          <p:nvPr/>
        </p:nvSpPr>
        <p:spPr>
          <a:xfrm>
            <a:off x="819807" y="1196116"/>
            <a:ext cx="5139559" cy="5492158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74A9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BD98DED-D057-5B56-0B7E-116AF6903542}"/>
              </a:ext>
            </a:extLst>
          </p:cNvPr>
          <p:cNvSpPr txBox="1"/>
          <p:nvPr/>
        </p:nvSpPr>
        <p:spPr>
          <a:xfrm>
            <a:off x="1022282" y="1418202"/>
            <a:ext cx="4734607" cy="5019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ermohonan LSP: </a:t>
            </a:r>
          </a:p>
          <a:p>
            <a:pPr marL="599047" marR="0" lvl="0" indent="-294231" algn="just" defTabSz="538719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Calibri" panose="020F0502020204030204" pitchFamily="34" charset="0"/>
              <a:buChar char="•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urat Permohonan Lisensi Awal </a:t>
            </a:r>
          </a:p>
          <a:p>
            <a:pPr marL="599047" marR="0" lvl="0" indent="-294231" algn="just" defTabSz="538719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Calibri" panose="020F0502020204030204" pitchFamily="34" charset="0"/>
              <a:buChar char="•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urat Permohonan Apresiasi **) </a:t>
            </a:r>
          </a:p>
          <a:p>
            <a:pPr marL="599047" marR="0" lvl="0" indent="-294231" algn="just" defTabSz="538719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Calibri" panose="020F0502020204030204" pitchFamily="34" charset="0"/>
              <a:buChar char="•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urat Permohonan Verifikasi Skema ***) </a:t>
            </a:r>
          </a:p>
          <a:p>
            <a:pPr marL="599047" marR="0" lvl="0" indent="-294231" algn="just" defTabSz="538719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Calibri" panose="020F0502020204030204" pitchFamily="34" charset="0"/>
              <a:buChar char="•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urat Permohonan Pelaksanaan Asemen Penuh (bila dokumen dinyatakan telah lengkap) </a:t>
            </a:r>
          </a:p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Lembar Isian </a:t>
            </a:r>
          </a:p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kte Notaris*) Teregristrasi Kemenkumham (LSP Pihak ke 3) **) </a:t>
            </a:r>
          </a:p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urat Keputusan pendirian LSP dari Pimpinan Lembaga Induknya (LSP Pihak ke 1 atau Pihak ke 2) **) </a:t>
            </a:r>
          </a:p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urat Dukungan dari Instansi Pembina Sektor/Kementerian/Lembaga (LSP pihak Ke 3) **) </a:t>
            </a:r>
          </a:p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urat Dukungan lain ( bila ada ) misal dari : **) </a:t>
            </a:r>
          </a:p>
          <a:p>
            <a:pPr marL="599047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Calibri" panose="020F0502020204030204" pitchFamily="34" charset="0"/>
              <a:buChar char="•"/>
              <a:tabLst>
                <a:tab pos="477333" algn="l"/>
              </a:tabLst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ari Industri/Perusahaan </a:t>
            </a:r>
          </a:p>
          <a:p>
            <a:pPr marL="599047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Calibri" panose="020F0502020204030204" pitchFamily="34" charset="0"/>
              <a:buChar char="•"/>
              <a:tabLst>
                <a:tab pos="477333" algn="l"/>
              </a:tabLst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sosiasi </a:t>
            </a:r>
          </a:p>
          <a:p>
            <a:pPr marL="599047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Calibri" panose="020F0502020204030204" pitchFamily="34" charset="0"/>
              <a:buChar char="•"/>
              <a:tabLst>
                <a:tab pos="477333" algn="l"/>
              </a:tabLst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Organisasi lain terkait Skema </a:t>
            </a:r>
          </a:p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7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K Pengangkatan Panitia Kerja oleh Pendiri LSP **)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D839468-E7A7-B880-EA51-40D260208B45}"/>
              </a:ext>
            </a:extLst>
          </p:cNvPr>
          <p:cNvSpPr txBox="1"/>
          <p:nvPr/>
        </p:nvSpPr>
        <p:spPr>
          <a:xfrm>
            <a:off x="6800193" y="983750"/>
            <a:ext cx="4572000" cy="55835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id-ID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K Visi, Misi dan Sasaran Mutu LSP **) </a:t>
            </a:r>
          </a:p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id-ID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K Penetapan Logo </a:t>
            </a:r>
          </a:p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id-ID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K Penetapan Personil Penandatanganan Sertifikat Kompetensi </a:t>
            </a:r>
          </a:p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id-ID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okumen Penggunaan Kantor minimal 2 tahun + Sarana dan Prasarana **) </a:t>
            </a:r>
          </a:p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id-ID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ersyaratan Personil LSP dan Assesor</a:t>
            </a:r>
          </a:p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id-ID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Buku Panduan Mutu </a:t>
            </a:r>
          </a:p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id-ID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aftar Standar Operating Prosedur (SOP) </a:t>
            </a:r>
          </a:p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id-ID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okumen SOP dan Formulir2 *) (sesuai dengan No. 16) </a:t>
            </a:r>
          </a:p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id-ID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Rekaman Audit Internal </a:t>
            </a:r>
          </a:p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id-ID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nalisis Potensi Ketidakberpihakan </a:t>
            </a:r>
          </a:p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id-ID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ok .Pakta Intergritas Personil LSP dan Assesor </a:t>
            </a:r>
          </a:p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id-ID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Rencana Strategis LSP 3 – 5 tahun **) </a:t>
            </a:r>
          </a:p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id-ID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Rencana Kerja dan Anggaran </a:t>
            </a:r>
          </a:p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id-ID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raft Sertifikat Kompetensi yang akan dikeluarkan LSP per Skema </a:t>
            </a:r>
          </a:p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id-ID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ok. Standar Kompetensi (soft copy/hard copy) </a:t>
            </a:r>
          </a:p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id-ID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ok. Skema Sertifikasi Pengajuan LSP ***) </a:t>
            </a:r>
          </a:p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id-ID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aftar Sektor Terkait Skema yang diajukan ***) </a:t>
            </a:r>
          </a:p>
          <a:p>
            <a:pPr marL="294231" marR="0" lvl="0" indent="-29423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8"/>
              <a:tabLst/>
              <a:defRPr/>
            </a:pPr>
            <a:r>
              <a:rPr kumimoji="0" lang="id-ID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aftar Personil Pembahas terkait verifikasi skema ***) </a:t>
            </a:r>
          </a:p>
        </p:txBody>
      </p:sp>
      <p:sp>
        <p:nvSpPr>
          <p:cNvPr id="2" name="Round Same Side Corner Rectangle 1">
            <a:extLst>
              <a:ext uri="{FF2B5EF4-FFF2-40B4-BE49-F238E27FC236}">
                <a16:creationId xmlns:a16="http://schemas.microsoft.com/office/drawing/2014/main" id="{FCDDBC6D-86C2-1498-2242-87DDEF558C7E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67B7F92-3DDB-118F-B670-3F07BD9AE219}"/>
              </a:ext>
            </a:extLst>
          </p:cNvPr>
          <p:cNvSpPr txBox="1">
            <a:spLocks/>
          </p:cNvSpPr>
          <p:nvPr/>
        </p:nvSpPr>
        <p:spPr>
          <a:xfrm>
            <a:off x="176914" y="169726"/>
            <a:ext cx="819457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800" b="1" dirty="0">
                <a:solidFill>
                  <a:prstClr val="black"/>
                </a:solidFill>
                <a:latin typeface="Segoe UI"/>
              </a:rPr>
              <a:t>CHECKLIST PERSYARATAN DOKUMEN LISENSI LSP BARU DI BNSP(1/2)</a:t>
            </a:r>
          </a:p>
          <a:p>
            <a:pPr>
              <a:lnSpc>
                <a:spcPct val="100000"/>
              </a:lnSpc>
              <a:defRPr/>
            </a:pPr>
            <a:endParaRPr lang="fi-FI" sz="2800" b="1" dirty="0">
              <a:solidFill>
                <a:prstClr val="black"/>
              </a:solidFill>
              <a:latin typeface="Segoe UI"/>
            </a:endParaRPr>
          </a:p>
        </p:txBody>
      </p:sp>
      <p:pic>
        <p:nvPicPr>
          <p:cNvPr id="6" name="Picture 5" descr="lgo sigap.png">
            <a:extLst>
              <a:ext uri="{FF2B5EF4-FFF2-40B4-BE49-F238E27FC236}">
                <a16:creationId xmlns:a16="http://schemas.microsoft.com/office/drawing/2014/main" id="{7C810425-26B6-6B6A-CA23-E7B97263F3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043949A-C4A5-8C22-6A9C-666E22659D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61229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D396C899-8EA0-6AEB-E3D1-0A4E03B15CD7}"/>
              </a:ext>
            </a:extLst>
          </p:cNvPr>
          <p:cNvSpPr/>
          <p:nvPr/>
        </p:nvSpPr>
        <p:spPr>
          <a:xfrm>
            <a:off x="6346446" y="1146971"/>
            <a:ext cx="5139559" cy="5492158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74A90"/>
              </a:solidFill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939F0B2-E02D-D2C9-D415-087615EA68CE}"/>
              </a:ext>
            </a:extLst>
          </p:cNvPr>
          <p:cNvSpPr/>
          <p:nvPr/>
        </p:nvSpPr>
        <p:spPr>
          <a:xfrm>
            <a:off x="819807" y="1196116"/>
            <a:ext cx="5139559" cy="5443013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74A9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BD98DED-D057-5B56-0B7E-116AF6903542}"/>
              </a:ext>
            </a:extLst>
          </p:cNvPr>
          <p:cNvSpPr txBox="1"/>
          <p:nvPr/>
        </p:nvSpPr>
        <p:spPr>
          <a:xfrm>
            <a:off x="1126660" y="1366284"/>
            <a:ext cx="4799121" cy="52758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55618" marR="0" lvl="0" indent="-355618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26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ok. Skema Sertifikasi Verifikasi BNSP </a:t>
            </a:r>
          </a:p>
          <a:p>
            <a:pPr marL="355618" marR="0" lvl="0" indent="-355618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26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Lembar Verifikasi Skema Sertifikasi </a:t>
            </a:r>
          </a:p>
          <a:p>
            <a:pPr marL="355618" marR="0" lvl="0" indent="-355618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26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erangkat Assesmen /MUK (Copy Master sesuai Skema yang diajukan ) </a:t>
            </a:r>
          </a:p>
          <a:p>
            <a:pPr marL="355618" marR="0" lvl="0" indent="-355618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26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orm:</a:t>
            </a:r>
          </a:p>
          <a:p>
            <a:pPr marL="355618" marR="0" lvl="0" indent="-355618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26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R. APL 01 </a:t>
            </a:r>
          </a:p>
          <a:p>
            <a:pPr marL="355618" marR="0" lvl="0" indent="-355618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26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R. APL 02 </a:t>
            </a:r>
          </a:p>
          <a:p>
            <a:pPr marL="355618" marR="0" lvl="0" indent="-355618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26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R. MMA </a:t>
            </a:r>
          </a:p>
          <a:p>
            <a:pPr marL="355618" marR="0" lvl="0" indent="-355618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26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R. MPA ( FR.02/02.1/02.2/02.3/02.4/02.5./02.6) </a:t>
            </a:r>
          </a:p>
          <a:p>
            <a:pPr marL="355618" marR="0" lvl="0" indent="-355618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26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AK ( FR 01/02/03/04/05/06) </a:t>
            </a:r>
          </a:p>
          <a:p>
            <a:pPr marL="355618" marR="0" lvl="0" indent="-355618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26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PA 03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55618" marR="0" lvl="0" indent="-355618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36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okumen</a:t>
            </a: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kepemilikan Kantor LSP </a:t>
            </a:r>
          </a:p>
          <a:p>
            <a:pPr marL="355618" marR="0" lvl="0" indent="-355618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36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okumen TUK, a.l : </a:t>
            </a:r>
          </a:p>
          <a:p>
            <a:pPr marL="599047" marR="0" lvl="0" indent="-22861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ersyaratan Teknis TUK </a:t>
            </a:r>
          </a:p>
          <a:p>
            <a:pPr marL="599047" marR="0" lvl="0" indent="-22861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eklist Verifikasi TUK </a:t>
            </a:r>
          </a:p>
          <a:p>
            <a:pPr marL="599047" marR="0" lvl="0" indent="-22861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K Penetapan TUK Terverifikasi LSP </a:t>
            </a:r>
          </a:p>
          <a:p>
            <a:pPr marL="599047" marR="0" lvl="0" indent="-22861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aftar TUK terverifikasi **) </a:t>
            </a:r>
          </a:p>
          <a:p>
            <a:pPr marL="599047" marR="0" lvl="0" indent="-22861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K Penanggung Jawab TUK </a:t>
            </a:r>
          </a:p>
          <a:p>
            <a:pPr marL="0" marR="0" lvl="0" indent="0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C487FA2-BDCC-C6E9-7015-36AACB6ACE4D}"/>
              </a:ext>
            </a:extLst>
          </p:cNvPr>
          <p:cNvSpPr txBox="1"/>
          <p:nvPr/>
        </p:nvSpPr>
        <p:spPr>
          <a:xfrm>
            <a:off x="6865969" y="1315384"/>
            <a:ext cx="4366127" cy="19210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55618" marR="0" lvl="0" indent="-355618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38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okum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Uji Cob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erangka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ssesm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/MUK </a:t>
            </a:r>
            <a:endParaRPr kumimoji="0" lang="id-ID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55618" marR="0" lvl="0" indent="-355618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38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onto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Bros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/ leaflet </a:t>
            </a:r>
            <a:endParaRPr kumimoji="0" lang="id-ID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55618" marR="0" lvl="0" indent="-355618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 startAt="38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okumen</a:t>
            </a: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Sistim Informasi (Website /Face book/Twitter ,</a:t>
            </a:r>
            <a:r>
              <a:rPr kumimoji="0" lang="id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ll</a:t>
            </a: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marL="0" marR="0" lvl="0" indent="0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*) coret yang tidak perlu </a:t>
            </a:r>
          </a:p>
          <a:p>
            <a:pPr marL="0" marR="0" lvl="0" indent="0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**) dokumen Apresiasi </a:t>
            </a:r>
          </a:p>
          <a:p>
            <a:pPr marL="0" marR="0" lvl="0" indent="0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***) dokumen verifikasi skema sertifikasi bar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C6B7A90-215A-C09D-AE77-CFF5FDFAF643}"/>
              </a:ext>
            </a:extLst>
          </p:cNvPr>
          <p:cNvSpPr txBox="1"/>
          <p:nvPr/>
        </p:nvSpPr>
        <p:spPr>
          <a:xfrm>
            <a:off x="6874340" y="3316615"/>
            <a:ext cx="4191000" cy="31495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atatan : </a:t>
            </a:r>
          </a:p>
          <a:p>
            <a:pPr marL="228611" marR="0" lvl="0" indent="-22861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okumen tersebut berupa persyaratan secara fisik belum merupakan dokumen final karena belum dinilai secara isi dan kecukupan oleh Tim asesmen BNSP </a:t>
            </a:r>
          </a:p>
          <a:p>
            <a:pPr marL="228611" marR="0" lvl="0" indent="-22861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okumen Skema tersebut berupa persyaratan secara fisik belum merupakan dokumen final karena belum dinilai secara isi dan kecukupan oleh Tim asesmen BNSP. </a:t>
            </a:r>
          </a:p>
          <a:p>
            <a:pPr marL="228611" marR="0" lvl="0" indent="-228611" algn="just" defTabSz="609630" rtl="0" eaLnBrk="1" fontAlgn="auto" latinLnBrk="0" hangingPunct="1">
              <a:spcBef>
                <a:spcPts val="0"/>
              </a:spcBef>
              <a:spcAft>
                <a:spcPts val="533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urat Permohonan dikirim ke alamat email: admin@bnsp.go.id </a:t>
            </a:r>
          </a:p>
          <a:p>
            <a:pPr marL="0" marR="0" lvl="0" indent="0" algn="l" defTabSz="60963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okumen soft copy dikirim ke alamat email: </a:t>
            </a:r>
            <a:r>
              <a:rPr kumimoji="0" lang="id-ID" sz="1400" b="0" i="0" u="sng" strike="noStrike" kern="1200" cap="none" spc="0" normalizeH="0" baseline="0" noProof="0" dirty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bagian.lisensi@gmail.com</a:t>
            </a:r>
            <a:endParaRPr kumimoji="0" lang="id-ID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0"/>
              <a:ea typeface="+mn-ea"/>
              <a:cs typeface="+mn-cs"/>
            </a:endParaRPr>
          </a:p>
        </p:txBody>
      </p:sp>
      <p:sp>
        <p:nvSpPr>
          <p:cNvPr id="2" name="Round Same Side Corner Rectangle 1">
            <a:extLst>
              <a:ext uri="{FF2B5EF4-FFF2-40B4-BE49-F238E27FC236}">
                <a16:creationId xmlns:a16="http://schemas.microsoft.com/office/drawing/2014/main" id="{C473D909-9CB4-16FB-FE6D-A9BB29F78A3D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FDF138F-D0B1-CA76-1069-C9C75A243803}"/>
              </a:ext>
            </a:extLst>
          </p:cNvPr>
          <p:cNvSpPr txBox="1">
            <a:spLocks/>
          </p:cNvSpPr>
          <p:nvPr/>
        </p:nvSpPr>
        <p:spPr>
          <a:xfrm>
            <a:off x="176914" y="169726"/>
            <a:ext cx="819457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800" b="1" dirty="0">
                <a:solidFill>
                  <a:prstClr val="black"/>
                </a:solidFill>
                <a:latin typeface="Segoe UI"/>
              </a:rPr>
              <a:t>CHECKLIST PERSYARATAN DOKUMEN LISENSI LSP BARU DI BNSP(2/2)</a:t>
            </a:r>
          </a:p>
          <a:p>
            <a:pPr>
              <a:lnSpc>
                <a:spcPct val="100000"/>
              </a:lnSpc>
              <a:defRPr/>
            </a:pPr>
            <a:endParaRPr lang="fi-FI" sz="2800" b="1" dirty="0">
              <a:solidFill>
                <a:prstClr val="black"/>
              </a:solidFill>
              <a:latin typeface="Segoe UI"/>
            </a:endParaRPr>
          </a:p>
        </p:txBody>
      </p:sp>
      <p:pic>
        <p:nvPicPr>
          <p:cNvPr id="8" name="Picture 7" descr="lgo sigap.png">
            <a:extLst>
              <a:ext uri="{FF2B5EF4-FFF2-40B4-BE49-F238E27FC236}">
                <a16:creationId xmlns:a16="http://schemas.microsoft.com/office/drawing/2014/main" id="{5D622518-9C03-17AB-F0DD-B0F7031A44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3934CCF-2D32-58CE-3FE0-C5F494D070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28869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1D66DC-1C90-6948-BC17-50F085AA93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81F06F8-F742-4F8E-E828-F604DDD06B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931" y="2534123"/>
            <a:ext cx="12192000" cy="50537"/>
          </a:xfrm>
          <a:prstGeom prst="rect">
            <a:avLst/>
          </a:prstGeom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664E9A18-AB21-C423-59B6-F3B5A1E652DD}"/>
              </a:ext>
            </a:extLst>
          </p:cNvPr>
          <p:cNvSpPr txBox="1"/>
          <p:nvPr/>
        </p:nvSpPr>
        <p:spPr>
          <a:xfrm>
            <a:off x="2469515" y="4462655"/>
            <a:ext cx="9012572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4800" b="1" spc="-90" dirty="0">
                <a:solidFill>
                  <a:srgbClr val="002060"/>
                </a:solidFill>
                <a:latin typeface="Verdana"/>
                <a:cs typeface="Verdana"/>
              </a:rPr>
              <a:t>TAMBAHAN</a:t>
            </a:r>
            <a:endParaRPr sz="4800" dirty="0">
              <a:solidFill>
                <a:srgbClr val="002060"/>
              </a:solidFill>
              <a:latin typeface="Verdana"/>
              <a:cs typeface="Verdana"/>
            </a:endParaRPr>
          </a:p>
        </p:txBody>
      </p:sp>
      <p:pic>
        <p:nvPicPr>
          <p:cNvPr id="5" name="object 5">
            <a:extLst>
              <a:ext uri="{FF2B5EF4-FFF2-40B4-BE49-F238E27FC236}">
                <a16:creationId xmlns:a16="http://schemas.microsoft.com/office/drawing/2014/main" id="{B7BABBC3-5643-6EB6-D5B9-3476E21D1686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818119" y="457200"/>
            <a:ext cx="4605020" cy="2806700"/>
          </a:xfrm>
          <a:prstGeom prst="rect">
            <a:avLst/>
          </a:prstGeom>
        </p:spPr>
      </p:pic>
      <p:sp>
        <p:nvSpPr>
          <p:cNvPr id="7" name="object 7">
            <a:extLst>
              <a:ext uri="{FF2B5EF4-FFF2-40B4-BE49-F238E27FC236}">
                <a16:creationId xmlns:a16="http://schemas.microsoft.com/office/drawing/2014/main" id="{9376A4C1-9292-2296-330E-B6B08A3290CF}"/>
              </a:ext>
            </a:extLst>
          </p:cNvPr>
          <p:cNvSpPr/>
          <p:nvPr/>
        </p:nvSpPr>
        <p:spPr>
          <a:xfrm>
            <a:off x="-11931" y="-228600"/>
            <a:ext cx="10261600" cy="2771140"/>
          </a:xfrm>
          <a:custGeom>
            <a:avLst/>
            <a:gdLst/>
            <a:ahLst/>
            <a:cxnLst/>
            <a:rect l="l" t="t" r="r" b="b"/>
            <a:pathLst>
              <a:path w="10261600" h="2771140">
                <a:moveTo>
                  <a:pt x="9645050" y="0"/>
                </a:moveTo>
                <a:lnTo>
                  <a:pt x="0" y="0"/>
                </a:lnTo>
                <a:lnTo>
                  <a:pt x="0" y="2771140"/>
                </a:lnTo>
                <a:lnTo>
                  <a:pt x="9278493" y="2771140"/>
                </a:lnTo>
                <a:lnTo>
                  <a:pt x="10261600" y="1068070"/>
                </a:lnTo>
                <a:lnTo>
                  <a:pt x="9645050" y="0"/>
                </a:lnTo>
                <a:close/>
              </a:path>
            </a:pathLst>
          </a:custGeom>
          <a:solidFill>
            <a:schemeClr val="bg1">
              <a:lumMod val="85000"/>
              <a:alpha val="46665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B99D87A2-E228-5C78-0822-263A5A331459}"/>
              </a:ext>
            </a:extLst>
          </p:cNvPr>
          <p:cNvSpPr/>
          <p:nvPr/>
        </p:nvSpPr>
        <p:spPr>
          <a:xfrm>
            <a:off x="6471920" y="-93980"/>
            <a:ext cx="5742940" cy="3357879"/>
          </a:xfrm>
          <a:custGeom>
            <a:avLst/>
            <a:gdLst/>
            <a:ahLst/>
            <a:cxnLst/>
            <a:rect l="l" t="t" r="r" b="b"/>
            <a:pathLst>
              <a:path w="5742940" h="3357879">
                <a:moveTo>
                  <a:pt x="4774692" y="0"/>
                </a:moveTo>
                <a:lnTo>
                  <a:pt x="968248" y="0"/>
                </a:lnTo>
                <a:lnTo>
                  <a:pt x="0" y="1678939"/>
                </a:lnTo>
                <a:lnTo>
                  <a:pt x="968248" y="3357879"/>
                </a:lnTo>
                <a:lnTo>
                  <a:pt x="4774692" y="3357879"/>
                </a:lnTo>
                <a:lnTo>
                  <a:pt x="5742940" y="1678939"/>
                </a:lnTo>
                <a:lnTo>
                  <a:pt x="4774692" y="0"/>
                </a:lnTo>
                <a:close/>
              </a:path>
            </a:pathLst>
          </a:custGeom>
          <a:solidFill>
            <a:srgbClr val="36528A">
              <a:alpha val="67842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7" descr="Text, logo&#10;&#10;Description automatically generated">
            <a:extLst>
              <a:ext uri="{FF2B5EF4-FFF2-40B4-BE49-F238E27FC236}">
                <a16:creationId xmlns:a16="http://schemas.microsoft.com/office/drawing/2014/main" id="{29974BFE-70BC-BA1A-99BF-059081DA50D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043" y="67678"/>
            <a:ext cx="1615921" cy="614684"/>
          </a:xfrm>
          <a:prstGeom prst="rect">
            <a:avLst/>
          </a:prstGeom>
        </p:spPr>
      </p:pic>
      <p:pic>
        <p:nvPicPr>
          <p:cNvPr id="9" name="Picture 30" descr="A black background with red and black text&#10;&#10;Description automatically generated">
            <a:extLst>
              <a:ext uri="{FF2B5EF4-FFF2-40B4-BE49-F238E27FC236}">
                <a16:creationId xmlns:a16="http://schemas.microsoft.com/office/drawing/2014/main" id="{D59258F3-5127-8250-7688-100E2B279DD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1968133" y="-164396"/>
            <a:ext cx="1106668" cy="1106668"/>
          </a:xfrm>
          <a:prstGeom prst="rect">
            <a:avLst/>
          </a:prstGeom>
        </p:spPr>
      </p:pic>
      <p:pic>
        <p:nvPicPr>
          <p:cNvPr id="10" name="Picture 9" descr="lgo sigap.png">
            <a:extLst>
              <a:ext uri="{FF2B5EF4-FFF2-40B4-BE49-F238E27FC236}">
                <a16:creationId xmlns:a16="http://schemas.microsoft.com/office/drawing/2014/main" id="{75808627-9789-5C5F-7CEF-A84544F28D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  <p:sp>
        <p:nvSpPr>
          <p:cNvPr id="11" name="object 2">
            <a:extLst>
              <a:ext uri="{FF2B5EF4-FFF2-40B4-BE49-F238E27FC236}">
                <a16:creationId xmlns:a16="http://schemas.microsoft.com/office/drawing/2014/main" id="{561860D8-FF3D-0E63-AEB1-76D18CC06737}"/>
              </a:ext>
            </a:extLst>
          </p:cNvPr>
          <p:cNvSpPr txBox="1"/>
          <p:nvPr/>
        </p:nvSpPr>
        <p:spPr>
          <a:xfrm>
            <a:off x="269043" y="3106740"/>
            <a:ext cx="1534474" cy="32444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1000" b="1" spc="-9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</a:t>
            </a:r>
            <a:endParaRPr sz="210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32345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2735B4-68E5-3EBB-77B7-EE2055258C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EAA3028E-D679-C8EE-0255-2B2F48B51B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0DAA671-D91B-FAAA-DFCF-C73E54B48C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32932" y="1358432"/>
            <a:ext cx="4163068" cy="5266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472DCDC-D152-3528-0D45-E0B68CED7B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39844" y="1358432"/>
            <a:ext cx="4513216" cy="526606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" name="Picture 1" descr="lgo sigap.png">
            <a:extLst>
              <a:ext uri="{FF2B5EF4-FFF2-40B4-BE49-F238E27FC236}">
                <a16:creationId xmlns:a16="http://schemas.microsoft.com/office/drawing/2014/main" id="{BF42AF60-432C-A90B-BFD7-00E3F23044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3" name="Round Same Side Corner Rectangle 1">
            <a:extLst>
              <a:ext uri="{FF2B5EF4-FFF2-40B4-BE49-F238E27FC236}">
                <a16:creationId xmlns:a16="http://schemas.microsoft.com/office/drawing/2014/main" id="{2E4C596B-3C7F-7142-439D-C79A68C7F117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41868A3-512A-4C2A-D9A4-7963F6336798}"/>
              </a:ext>
            </a:extLst>
          </p:cNvPr>
          <p:cNvSpPr txBox="1">
            <a:spLocks/>
          </p:cNvSpPr>
          <p:nvPr/>
        </p:nvSpPr>
        <p:spPr>
          <a:xfrm>
            <a:off x="347157" y="135774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800" b="1" dirty="0">
                <a:solidFill>
                  <a:prstClr val="black"/>
                </a:solidFill>
                <a:latin typeface="Segoe UI"/>
              </a:rPr>
              <a:t>SURAT MENTERI BK 10-Mn/75 (1/2)</a:t>
            </a:r>
          </a:p>
          <a:p>
            <a:pPr>
              <a:lnSpc>
                <a:spcPct val="100000"/>
              </a:lnSpc>
              <a:defRPr/>
            </a:pPr>
            <a:r>
              <a:rPr lang="fi-FI" sz="1800" dirty="0" err="1">
                <a:solidFill>
                  <a:prstClr val="black"/>
                </a:solidFill>
                <a:latin typeface="Segoe UI"/>
              </a:rPr>
              <a:t>Pengenaan</a:t>
            </a:r>
            <a:r>
              <a:rPr lang="fi-FI" sz="1800" dirty="0">
                <a:solidFill>
                  <a:prstClr val="black"/>
                </a:solidFill>
                <a:latin typeface="Segoe UI"/>
              </a:rPr>
              <a:t> </a:t>
            </a:r>
            <a:r>
              <a:rPr lang="fi-FI" sz="1800" dirty="0" err="1">
                <a:solidFill>
                  <a:prstClr val="black"/>
                </a:solidFill>
                <a:latin typeface="Segoe UI"/>
              </a:rPr>
              <a:t>Sanksi</a:t>
            </a:r>
            <a:r>
              <a:rPr lang="fi-FI" sz="1800" dirty="0">
                <a:solidFill>
                  <a:prstClr val="black"/>
                </a:solidFill>
                <a:latin typeface="Segoe UI"/>
              </a:rPr>
              <a:t> </a:t>
            </a:r>
            <a:r>
              <a:rPr lang="fi-FI" sz="1800" dirty="0" err="1">
                <a:solidFill>
                  <a:prstClr val="black"/>
                </a:solidFill>
                <a:latin typeface="Segoe UI"/>
              </a:rPr>
              <a:t>Administratif</a:t>
            </a:r>
            <a:r>
              <a:rPr lang="fi-FI" sz="1800" dirty="0">
                <a:solidFill>
                  <a:prstClr val="black"/>
                </a:solidFill>
                <a:latin typeface="Segoe UI"/>
              </a:rPr>
              <a:t> </a:t>
            </a:r>
            <a:r>
              <a:rPr lang="fi-FI" sz="1800" dirty="0" err="1">
                <a:solidFill>
                  <a:prstClr val="black"/>
                </a:solidFill>
                <a:latin typeface="Segoe UI"/>
              </a:rPr>
              <a:t>Terhadap</a:t>
            </a:r>
            <a:r>
              <a:rPr lang="fi-FI" sz="1800" dirty="0">
                <a:solidFill>
                  <a:prstClr val="black"/>
                </a:solidFill>
                <a:latin typeface="Segoe UI"/>
              </a:rPr>
              <a:t> LSBU </a:t>
            </a:r>
            <a:r>
              <a:rPr lang="fi-FI" sz="1800" dirty="0" err="1">
                <a:solidFill>
                  <a:prstClr val="black"/>
                </a:solidFill>
                <a:latin typeface="Segoe UI"/>
              </a:rPr>
              <a:t>dan</a:t>
            </a:r>
            <a:r>
              <a:rPr lang="fi-FI" sz="1800" dirty="0">
                <a:solidFill>
                  <a:prstClr val="black"/>
                </a:solidFill>
                <a:latin typeface="Segoe UI"/>
              </a:rPr>
              <a:t> SBU Jasa </a:t>
            </a:r>
            <a:r>
              <a:rPr lang="fi-FI" sz="1800" dirty="0" err="1">
                <a:solidFill>
                  <a:prstClr val="black"/>
                </a:solidFill>
                <a:latin typeface="Segoe UI"/>
              </a:rPr>
              <a:t>Konstruksi</a:t>
            </a:r>
            <a:r>
              <a:rPr lang="fi-FI" sz="1800" dirty="0">
                <a:solidFill>
                  <a:prstClr val="black"/>
                </a:solidFill>
                <a:latin typeface="Segoe UI"/>
              </a:rPr>
              <a:t> KBLI 2020 </a:t>
            </a:r>
            <a:r>
              <a:rPr lang="fi-FI" sz="1800" dirty="0" err="1">
                <a:solidFill>
                  <a:prstClr val="black"/>
                </a:solidFill>
                <a:latin typeface="Segoe UI"/>
              </a:rPr>
              <a:t>yang</a:t>
            </a:r>
            <a:r>
              <a:rPr lang="fi-FI" sz="1800" dirty="0">
                <a:solidFill>
                  <a:prstClr val="black"/>
                </a:solidFill>
                <a:latin typeface="Segoe UI"/>
              </a:rPr>
              <a:t> </a:t>
            </a:r>
            <a:r>
              <a:rPr lang="fi-FI" sz="1800" dirty="0" err="1">
                <a:solidFill>
                  <a:prstClr val="black"/>
                </a:solidFill>
                <a:latin typeface="Segoe UI"/>
              </a:rPr>
              <a:t>Tidak</a:t>
            </a:r>
            <a:r>
              <a:rPr lang="fi-FI" sz="1800" dirty="0">
                <a:solidFill>
                  <a:prstClr val="black"/>
                </a:solidFill>
                <a:latin typeface="Segoe UI"/>
              </a:rPr>
              <a:t> </a:t>
            </a:r>
            <a:r>
              <a:rPr lang="fi-FI" sz="1800" dirty="0" err="1">
                <a:solidFill>
                  <a:prstClr val="black"/>
                </a:solidFill>
                <a:latin typeface="Segoe UI"/>
              </a:rPr>
              <a:t>Memenuhi</a:t>
            </a:r>
            <a:r>
              <a:rPr lang="fi-FI" sz="1800" dirty="0">
                <a:solidFill>
                  <a:prstClr val="black"/>
                </a:solidFill>
                <a:latin typeface="Segoe UI"/>
              </a:rPr>
              <a:t> </a:t>
            </a:r>
            <a:r>
              <a:rPr lang="fi-FI" sz="1800" dirty="0" err="1">
                <a:solidFill>
                  <a:prstClr val="black"/>
                </a:solidFill>
                <a:latin typeface="Segoe UI"/>
              </a:rPr>
              <a:t>Persyaratan</a:t>
            </a:r>
            <a:r>
              <a:rPr lang="fi-FI" sz="1800" dirty="0">
                <a:solidFill>
                  <a:prstClr val="black"/>
                </a:solidFill>
                <a:latin typeface="Segoe UI"/>
              </a:rPr>
              <a:t> </a:t>
            </a:r>
            <a:r>
              <a:rPr lang="fi-FI" sz="1800" dirty="0" err="1">
                <a:solidFill>
                  <a:prstClr val="black"/>
                </a:solidFill>
                <a:latin typeface="Segoe UI"/>
              </a:rPr>
              <a:t>Perizinan</a:t>
            </a:r>
            <a:r>
              <a:rPr lang="fi-FI" sz="1800" dirty="0">
                <a:solidFill>
                  <a:prstClr val="black"/>
                </a:solidFill>
                <a:latin typeface="Segoe UI"/>
              </a:rPr>
              <a:t> </a:t>
            </a:r>
            <a:r>
              <a:rPr lang="fi-FI" sz="1800" dirty="0" err="1">
                <a:solidFill>
                  <a:prstClr val="black"/>
                </a:solidFill>
                <a:latin typeface="Segoe UI"/>
              </a:rPr>
              <a:t>Berusaha</a:t>
            </a:r>
            <a:endParaRPr lang="fi-FI" sz="1800" dirty="0">
              <a:solidFill>
                <a:prstClr val="black"/>
              </a:solidFill>
              <a:latin typeface="Segoe UI"/>
            </a:endParaRPr>
          </a:p>
          <a:p>
            <a:pPr>
              <a:lnSpc>
                <a:spcPct val="100000"/>
              </a:lnSpc>
              <a:defRPr/>
            </a:pPr>
            <a:endParaRPr lang="fi-FI" sz="2800" b="1" dirty="0">
              <a:solidFill>
                <a:prstClr val="black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68510095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4085CE-1244-273F-8941-E174160C9A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CA3FB0B-FCEB-DE91-73ED-2EA18B0A64C9}"/>
              </a:ext>
            </a:extLst>
          </p:cNvPr>
          <p:cNvSpPr txBox="1"/>
          <p:nvPr/>
        </p:nvSpPr>
        <p:spPr>
          <a:xfrm>
            <a:off x="824484" y="1971408"/>
            <a:ext cx="8882743" cy="523220"/>
          </a:xfrm>
          <a:prstGeom prst="rect">
            <a:avLst/>
          </a:prstGeom>
          <a:solidFill>
            <a:srgbClr val="174A90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8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Ketidaksesuaian</a:t>
            </a:r>
            <a:r>
              <a:rPr kumimoji="0" lang="fi-FI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SBU Terhadap: 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 descr="lgo sigap.png">
            <a:extLst>
              <a:ext uri="{FF2B5EF4-FFF2-40B4-BE49-F238E27FC236}">
                <a16:creationId xmlns:a16="http://schemas.microsoft.com/office/drawing/2014/main" id="{33C43028-5B7E-E8D7-E1B4-07FDFF0684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3" name="Round Same Side Corner Rectangle 1">
            <a:extLst>
              <a:ext uri="{FF2B5EF4-FFF2-40B4-BE49-F238E27FC236}">
                <a16:creationId xmlns:a16="http://schemas.microsoft.com/office/drawing/2014/main" id="{312033E2-4D4D-8B16-134D-FB832E391A96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38C1DA-5DAD-478D-A4D4-92F99947C893}"/>
              </a:ext>
            </a:extLst>
          </p:cNvPr>
          <p:cNvSpPr txBox="1"/>
          <p:nvPr/>
        </p:nvSpPr>
        <p:spPr>
          <a:xfrm>
            <a:off x="824484" y="2688209"/>
            <a:ext cx="10433324" cy="28007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ID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Ketersediaan</a:t>
            </a:r>
            <a:r>
              <a:rPr kumimoji="0" lang="en-ID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kumimoji="0" lang="en-ID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tenaga</a:t>
            </a:r>
            <a:r>
              <a:rPr kumimoji="0" lang="en-ID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kumimoji="0" lang="en-ID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tetap</a:t>
            </a:r>
            <a:r>
              <a:rPr kumimoji="0" lang="en-ID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kumimoji="0" lang="en-ID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konstruksi</a:t>
            </a:r>
            <a:r>
              <a:rPr kumimoji="0" lang="en-ID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kumimoji="0" lang="en-ID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atau</a:t>
            </a:r>
            <a:r>
              <a:rPr kumimoji="0" lang="en-ID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TKK </a:t>
            </a:r>
            <a:r>
              <a:rPr kumimoji="0" lang="en-ID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bersertifikat</a:t>
            </a:r>
            <a:endParaRPr kumimoji="0" lang="en-ID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</a:endParaRPr>
          </a:p>
          <a:p>
            <a:pPr lvl="1" algn="just">
              <a:defRPr/>
            </a:pP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PJBU/PJTBU/PJSKBU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tidak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boleh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merangkap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jabatan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pada badan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usaha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lain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serta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melaporkan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penggantian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tenaga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kerja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konstruksi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ke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LSBU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lang="en-ID" sz="1600" b="1" kern="0" dirty="0" err="1">
                <a:solidFill>
                  <a:prstClr val="black"/>
                </a:solidFill>
                <a:latin typeface="DM Sans" pitchFamily="2" charset="77"/>
              </a:rPr>
              <a:t>Komitmen</a:t>
            </a:r>
            <a:r>
              <a:rPr lang="en-ID" sz="1600" b="1" kern="0" dirty="0">
                <a:solidFill>
                  <a:prstClr val="black"/>
                </a:solidFill>
                <a:latin typeface="DM Sans" pitchFamily="2" charset="77"/>
              </a:rPr>
              <a:t> </a:t>
            </a:r>
            <a:r>
              <a:rPr lang="en-ID" sz="1600" b="1" kern="0" dirty="0" err="1">
                <a:solidFill>
                  <a:prstClr val="black"/>
                </a:solidFill>
                <a:latin typeface="DM Sans" pitchFamily="2" charset="77"/>
              </a:rPr>
              <a:t>peralatan</a:t>
            </a:r>
            <a:endParaRPr lang="en-ID" sz="1600" b="1" kern="0" dirty="0">
              <a:solidFill>
                <a:prstClr val="black"/>
              </a:solidFill>
              <a:latin typeface="DM Sans" pitchFamily="2" charset="77"/>
            </a:endParaRPr>
          </a:p>
          <a:p>
            <a:pPr lvl="1" algn="just">
              <a:defRPr/>
            </a:pPr>
            <a:r>
              <a:rPr lang="en-ID" sz="1600" kern="0" dirty="0" err="1">
                <a:solidFill>
                  <a:prstClr val="black"/>
                </a:solidFill>
                <a:latin typeface="DM Sans" pitchFamily="2" charset="77"/>
              </a:rPr>
              <a:t>Pemenuhan</a:t>
            </a:r>
            <a:r>
              <a:rPr lang="en-ID" sz="1600" kern="0" dirty="0">
                <a:solidFill>
                  <a:prstClr val="black"/>
                </a:solidFill>
                <a:latin typeface="DM Sans" pitchFamily="2" charset="77"/>
              </a:rPr>
              <a:t> </a:t>
            </a:r>
            <a:r>
              <a:rPr lang="en-ID" sz="1600" kern="0" dirty="0" err="1">
                <a:solidFill>
                  <a:prstClr val="black"/>
                </a:solidFill>
                <a:latin typeface="DM Sans" pitchFamily="2" charset="77"/>
              </a:rPr>
              <a:t>persyaratan</a:t>
            </a:r>
            <a:r>
              <a:rPr lang="en-ID" sz="1600" kern="0" dirty="0">
                <a:solidFill>
                  <a:prstClr val="black"/>
                </a:solidFill>
                <a:latin typeface="DM Sans" pitchFamily="2" charset="77"/>
              </a:rPr>
              <a:t> minimal </a:t>
            </a:r>
            <a:r>
              <a:rPr lang="en-ID" sz="1600" kern="0" dirty="0" err="1">
                <a:solidFill>
                  <a:prstClr val="black"/>
                </a:solidFill>
                <a:latin typeface="DM Sans" pitchFamily="2" charset="77"/>
              </a:rPr>
              <a:t>jumlah</a:t>
            </a:r>
            <a:r>
              <a:rPr lang="en-ID" sz="1600" kern="0" dirty="0">
                <a:solidFill>
                  <a:prstClr val="black"/>
                </a:solidFill>
                <a:latin typeface="DM Sans" pitchFamily="2" charset="77"/>
              </a:rPr>
              <a:t> </a:t>
            </a:r>
            <a:r>
              <a:rPr lang="en-ID" sz="1600" kern="0" dirty="0" err="1">
                <a:solidFill>
                  <a:prstClr val="black"/>
                </a:solidFill>
                <a:latin typeface="DM Sans" pitchFamily="2" charset="77"/>
              </a:rPr>
              <a:t>peralatan</a:t>
            </a:r>
            <a:r>
              <a:rPr lang="en-ID" sz="1600" kern="0" dirty="0">
                <a:solidFill>
                  <a:prstClr val="black"/>
                </a:solidFill>
                <a:latin typeface="DM Sans" pitchFamily="2" charset="77"/>
              </a:rPr>
              <a:t> </a:t>
            </a:r>
            <a:r>
              <a:rPr lang="en-ID" sz="1600" kern="0" dirty="0" err="1">
                <a:solidFill>
                  <a:prstClr val="black"/>
                </a:solidFill>
                <a:latin typeface="DM Sans" pitchFamily="2" charset="77"/>
              </a:rPr>
              <a:t>utama</a:t>
            </a:r>
            <a:r>
              <a:rPr lang="en-ID" sz="1600" kern="0" dirty="0">
                <a:solidFill>
                  <a:prstClr val="black"/>
                </a:solidFill>
                <a:latin typeface="DM Sans" pitchFamily="2" charset="77"/>
              </a:rPr>
              <a:t> </a:t>
            </a:r>
            <a:r>
              <a:rPr lang="en-ID" sz="1600" kern="0" dirty="0" err="1">
                <a:solidFill>
                  <a:prstClr val="black"/>
                </a:solidFill>
                <a:latin typeface="DM Sans" pitchFamily="2" charset="77"/>
              </a:rPr>
              <a:t>disediakan</a:t>
            </a:r>
            <a:r>
              <a:rPr lang="en-ID" sz="1600" kern="0" dirty="0">
                <a:solidFill>
                  <a:prstClr val="black"/>
                </a:solidFill>
                <a:latin typeface="DM Sans" pitchFamily="2" charset="77"/>
              </a:rPr>
              <a:t> paling lama 30 (</a:t>
            </a:r>
            <a:r>
              <a:rPr lang="en-ID" sz="1600" kern="0" dirty="0" err="1">
                <a:solidFill>
                  <a:prstClr val="black"/>
                </a:solidFill>
                <a:latin typeface="DM Sans" pitchFamily="2" charset="77"/>
              </a:rPr>
              <a:t>tiga</a:t>
            </a:r>
            <a:r>
              <a:rPr lang="en-ID" sz="1600" kern="0" dirty="0">
                <a:solidFill>
                  <a:prstClr val="black"/>
                </a:solidFill>
                <a:latin typeface="DM Sans" pitchFamily="2" charset="77"/>
              </a:rPr>
              <a:t> </a:t>
            </a:r>
            <a:r>
              <a:rPr lang="en-ID" sz="1600" kern="0" dirty="0" err="1">
                <a:solidFill>
                  <a:prstClr val="black"/>
                </a:solidFill>
                <a:latin typeface="DM Sans" pitchFamily="2" charset="77"/>
              </a:rPr>
              <a:t>puluh</a:t>
            </a:r>
            <a:r>
              <a:rPr lang="en-ID" sz="1600" kern="0" dirty="0">
                <a:solidFill>
                  <a:prstClr val="black"/>
                </a:solidFill>
                <a:latin typeface="DM Sans" pitchFamily="2" charset="77"/>
              </a:rPr>
              <a:t>) </a:t>
            </a:r>
            <a:r>
              <a:rPr lang="en-ID" sz="1600" kern="0" dirty="0" err="1">
                <a:solidFill>
                  <a:prstClr val="black"/>
                </a:solidFill>
                <a:latin typeface="DM Sans" pitchFamily="2" charset="77"/>
              </a:rPr>
              <a:t>hari</a:t>
            </a:r>
            <a:r>
              <a:rPr lang="en-ID" sz="1600" kern="0" dirty="0">
                <a:solidFill>
                  <a:prstClr val="black"/>
                </a:solidFill>
                <a:latin typeface="DM Sans" pitchFamily="2" charset="77"/>
              </a:rPr>
              <a:t> </a:t>
            </a:r>
            <a:r>
              <a:rPr lang="en-ID" sz="1600" kern="0" dirty="0" err="1">
                <a:solidFill>
                  <a:prstClr val="black"/>
                </a:solidFill>
                <a:latin typeface="DM Sans" pitchFamily="2" charset="77"/>
              </a:rPr>
              <a:t>kalender</a:t>
            </a:r>
            <a:r>
              <a:rPr lang="en-ID" sz="1600" kern="0" dirty="0">
                <a:solidFill>
                  <a:prstClr val="black"/>
                </a:solidFill>
                <a:latin typeface="DM Sans" pitchFamily="2" charset="77"/>
              </a:rPr>
              <a:t> </a:t>
            </a:r>
            <a:r>
              <a:rPr lang="en-ID" sz="1600" kern="0" dirty="0" err="1">
                <a:solidFill>
                  <a:prstClr val="black"/>
                </a:solidFill>
                <a:latin typeface="DM Sans" pitchFamily="2" charset="77"/>
              </a:rPr>
              <a:t>sejak</a:t>
            </a:r>
            <a:r>
              <a:rPr lang="en-ID" sz="1600" kern="0" dirty="0">
                <a:solidFill>
                  <a:prstClr val="black"/>
                </a:solidFill>
                <a:latin typeface="DM Sans" pitchFamily="2" charset="77"/>
              </a:rPr>
              <a:t> SBU </a:t>
            </a:r>
            <a:r>
              <a:rPr lang="en-ID" sz="1600" kern="0" dirty="0" err="1">
                <a:solidFill>
                  <a:prstClr val="black"/>
                </a:solidFill>
                <a:latin typeface="DM Sans" pitchFamily="2" charset="77"/>
              </a:rPr>
              <a:t>konstruksi</a:t>
            </a:r>
            <a:r>
              <a:rPr lang="en-ID" sz="1600" kern="0" dirty="0">
                <a:solidFill>
                  <a:prstClr val="black"/>
                </a:solidFill>
                <a:latin typeface="DM Sans" pitchFamily="2" charset="77"/>
              </a:rPr>
              <a:t> </a:t>
            </a:r>
            <a:r>
              <a:rPr lang="en-ID" sz="1600" kern="0" dirty="0" err="1">
                <a:solidFill>
                  <a:prstClr val="black"/>
                </a:solidFill>
                <a:latin typeface="DM Sans" pitchFamily="2" charset="77"/>
              </a:rPr>
              <a:t>diterbitkan</a:t>
            </a:r>
            <a:r>
              <a:rPr lang="en-ID" sz="1600" kern="0" dirty="0">
                <a:solidFill>
                  <a:prstClr val="black"/>
                </a:solidFill>
                <a:latin typeface="DM Sans" pitchFamily="2" charset="77"/>
              </a:rPr>
              <a:t> dan </a:t>
            </a:r>
            <a:r>
              <a:rPr lang="en-ID" sz="1600" kern="0" dirty="0" err="1">
                <a:solidFill>
                  <a:prstClr val="black"/>
                </a:solidFill>
                <a:latin typeface="DM Sans" pitchFamily="2" charset="77"/>
              </a:rPr>
              <a:t>melaporkan</a:t>
            </a:r>
            <a:r>
              <a:rPr lang="en-ID" sz="1600" kern="0" dirty="0">
                <a:solidFill>
                  <a:prstClr val="black"/>
                </a:solidFill>
                <a:latin typeface="DM Sans" pitchFamily="2" charset="77"/>
              </a:rPr>
              <a:t> </a:t>
            </a:r>
            <a:r>
              <a:rPr lang="en-ID" sz="1600" kern="0" dirty="0" err="1">
                <a:solidFill>
                  <a:prstClr val="black"/>
                </a:solidFill>
                <a:latin typeface="DM Sans" pitchFamily="2" charset="77"/>
              </a:rPr>
              <a:t>nomor</a:t>
            </a:r>
            <a:r>
              <a:rPr lang="en-ID" sz="1600" kern="0" dirty="0">
                <a:solidFill>
                  <a:prstClr val="black"/>
                </a:solidFill>
                <a:latin typeface="DM Sans" pitchFamily="2" charset="77"/>
              </a:rPr>
              <a:t> </a:t>
            </a:r>
            <a:r>
              <a:rPr lang="en-ID" sz="1600" kern="0" dirty="0" err="1">
                <a:solidFill>
                  <a:prstClr val="black"/>
                </a:solidFill>
                <a:latin typeface="DM Sans" pitchFamily="2" charset="77"/>
              </a:rPr>
              <a:t>pencatatan</a:t>
            </a:r>
            <a:r>
              <a:rPr lang="en-ID" sz="1600" kern="0" dirty="0">
                <a:solidFill>
                  <a:prstClr val="black"/>
                </a:solidFill>
                <a:latin typeface="DM Sans" pitchFamily="2" charset="77"/>
              </a:rPr>
              <a:t> </a:t>
            </a:r>
            <a:r>
              <a:rPr lang="en-ID" sz="1600" kern="0" dirty="0" err="1">
                <a:solidFill>
                  <a:prstClr val="black"/>
                </a:solidFill>
                <a:latin typeface="DM Sans" pitchFamily="2" charset="77"/>
              </a:rPr>
              <a:t>peralatan</a:t>
            </a:r>
            <a:r>
              <a:rPr lang="en-ID" sz="1600" kern="0" dirty="0">
                <a:solidFill>
                  <a:prstClr val="black"/>
                </a:solidFill>
                <a:latin typeface="DM Sans" pitchFamily="2" charset="77"/>
              </a:rPr>
              <a:t> </a:t>
            </a:r>
            <a:r>
              <a:rPr lang="en-ID" sz="1600" kern="0" dirty="0" err="1">
                <a:solidFill>
                  <a:prstClr val="black"/>
                </a:solidFill>
                <a:latin typeface="DM Sans" pitchFamily="2" charset="77"/>
              </a:rPr>
              <a:t>dalam</a:t>
            </a:r>
            <a:r>
              <a:rPr lang="en-ID" sz="1600" kern="0" dirty="0">
                <a:solidFill>
                  <a:prstClr val="black"/>
                </a:solidFill>
                <a:latin typeface="DM Sans" pitchFamily="2" charset="77"/>
              </a:rPr>
              <a:t> SIMPK </a:t>
            </a:r>
            <a:r>
              <a:rPr lang="en-ID" sz="1600" kern="0" dirty="0" err="1">
                <a:solidFill>
                  <a:prstClr val="black"/>
                </a:solidFill>
                <a:latin typeface="DM Sans" pitchFamily="2" charset="77"/>
              </a:rPr>
              <a:t>kepada</a:t>
            </a:r>
            <a:r>
              <a:rPr lang="en-ID" sz="1600" kern="0" dirty="0">
                <a:solidFill>
                  <a:prstClr val="black"/>
                </a:solidFill>
                <a:latin typeface="DM Sans" pitchFamily="2" charset="77"/>
              </a:rPr>
              <a:t> LSBU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en-ID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Komitmen</a:t>
            </a:r>
            <a:r>
              <a:rPr kumimoji="0" lang="en-ID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lang="en-ID" sz="1600" b="1" kern="0" dirty="0">
                <a:solidFill>
                  <a:prstClr val="black"/>
                </a:solidFill>
                <a:latin typeface="DM Sans" pitchFamily="2" charset="77"/>
              </a:rPr>
              <a:t>SMAP</a:t>
            </a:r>
          </a:p>
          <a:p>
            <a:pPr marL="800100" lvl="1" indent="-342900" algn="just">
              <a:buFont typeface="+mj-lt"/>
              <a:buAutoNum type="alphaLcPeriod"/>
              <a:defRPr/>
            </a:pP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sertifikat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penerapan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SMAP yang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diterbitkan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oleh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lembaga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sertifikasi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terakreditasi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;</a:t>
            </a:r>
          </a:p>
          <a:p>
            <a:pPr marL="800100" lvl="1" indent="-342900" algn="just">
              <a:buFont typeface="+mj-lt"/>
              <a:buAutoNum type="alphaLcPeriod"/>
              <a:defRPr/>
            </a:pP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dokumen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SMAP;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atau</a:t>
            </a:r>
            <a:endParaRPr lang="en-ID" sz="1600" kern="0" dirty="0">
              <a:solidFill>
                <a:prstClr val="black"/>
              </a:solidFill>
              <a:latin typeface="DM Sans" pitchFamily="2" charset="77"/>
            </a:endParaRPr>
          </a:p>
          <a:p>
            <a:pPr marL="800100" lvl="1" indent="-342900" algn="just">
              <a:buFont typeface="+mj-lt"/>
              <a:buAutoNum type="alphaLcPeriod"/>
              <a:defRPr/>
            </a:pP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surat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pernyataan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komitmen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memenuhi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kelengkapan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persyaratan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dokumen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penyelenggaraan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 SMAP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5F99EA2-F32B-1A52-E419-405161E2FB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432F2B24-4A2B-AA07-040A-259F21527137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DB591255-3CCE-563A-B7FD-D730E386D5CA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7DB24A10-9D82-46E0-65ED-D0FF952BD46E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99844F1D-5DF7-50B6-2DD5-1C53CCA980EB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2F9D7FD-C95A-20A2-C955-68AD6787E7E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sp>
        <p:nvSpPr>
          <p:cNvPr id="15" name="Title 1">
            <a:extLst>
              <a:ext uri="{FF2B5EF4-FFF2-40B4-BE49-F238E27FC236}">
                <a16:creationId xmlns:a16="http://schemas.microsoft.com/office/drawing/2014/main" id="{3884AB08-6C8F-67DB-698C-6E1365AC0E7D}"/>
              </a:ext>
            </a:extLst>
          </p:cNvPr>
          <p:cNvSpPr txBox="1">
            <a:spLocks/>
          </p:cNvSpPr>
          <p:nvPr/>
        </p:nvSpPr>
        <p:spPr>
          <a:xfrm>
            <a:off x="347157" y="135774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800" b="1" dirty="0">
                <a:solidFill>
                  <a:prstClr val="black"/>
                </a:solidFill>
                <a:latin typeface="Segoe UI"/>
              </a:rPr>
              <a:t>SURAT MENTERI BK 10-Mn/75 (2/2)</a:t>
            </a:r>
          </a:p>
          <a:p>
            <a:pPr>
              <a:lnSpc>
                <a:spcPct val="100000"/>
              </a:lnSpc>
              <a:defRPr/>
            </a:pPr>
            <a:r>
              <a:rPr lang="fi-FI" sz="1800" dirty="0" err="1">
                <a:solidFill>
                  <a:prstClr val="black"/>
                </a:solidFill>
                <a:latin typeface="Segoe UI"/>
              </a:rPr>
              <a:t>Pengenaan</a:t>
            </a:r>
            <a:r>
              <a:rPr lang="fi-FI" sz="1800" dirty="0">
                <a:solidFill>
                  <a:prstClr val="black"/>
                </a:solidFill>
                <a:latin typeface="Segoe UI"/>
              </a:rPr>
              <a:t> </a:t>
            </a:r>
            <a:r>
              <a:rPr lang="fi-FI" sz="1800" dirty="0" err="1">
                <a:solidFill>
                  <a:prstClr val="black"/>
                </a:solidFill>
                <a:latin typeface="Segoe UI"/>
              </a:rPr>
              <a:t>Sanksi</a:t>
            </a:r>
            <a:r>
              <a:rPr lang="fi-FI" sz="1800" dirty="0">
                <a:solidFill>
                  <a:prstClr val="black"/>
                </a:solidFill>
                <a:latin typeface="Segoe UI"/>
              </a:rPr>
              <a:t> </a:t>
            </a:r>
            <a:r>
              <a:rPr lang="fi-FI" sz="1800" dirty="0" err="1">
                <a:solidFill>
                  <a:prstClr val="black"/>
                </a:solidFill>
                <a:latin typeface="Segoe UI"/>
              </a:rPr>
              <a:t>Administratif</a:t>
            </a:r>
            <a:r>
              <a:rPr lang="fi-FI" sz="1800" dirty="0">
                <a:solidFill>
                  <a:prstClr val="black"/>
                </a:solidFill>
                <a:latin typeface="Segoe UI"/>
              </a:rPr>
              <a:t> </a:t>
            </a:r>
            <a:r>
              <a:rPr lang="fi-FI" sz="1800" dirty="0" err="1">
                <a:solidFill>
                  <a:prstClr val="black"/>
                </a:solidFill>
                <a:latin typeface="Segoe UI"/>
              </a:rPr>
              <a:t>Terhadap</a:t>
            </a:r>
            <a:r>
              <a:rPr lang="fi-FI" sz="1800" dirty="0">
                <a:solidFill>
                  <a:prstClr val="black"/>
                </a:solidFill>
                <a:latin typeface="Segoe UI"/>
              </a:rPr>
              <a:t> LSBU </a:t>
            </a:r>
            <a:r>
              <a:rPr lang="fi-FI" sz="1800" dirty="0" err="1">
                <a:solidFill>
                  <a:prstClr val="black"/>
                </a:solidFill>
                <a:latin typeface="Segoe UI"/>
              </a:rPr>
              <a:t>dan</a:t>
            </a:r>
            <a:r>
              <a:rPr lang="fi-FI" sz="1800" dirty="0">
                <a:solidFill>
                  <a:prstClr val="black"/>
                </a:solidFill>
                <a:latin typeface="Segoe UI"/>
              </a:rPr>
              <a:t> SBU Jasa </a:t>
            </a:r>
            <a:r>
              <a:rPr lang="fi-FI" sz="1800" dirty="0" err="1">
                <a:solidFill>
                  <a:prstClr val="black"/>
                </a:solidFill>
                <a:latin typeface="Segoe UI"/>
              </a:rPr>
              <a:t>Konstruksi</a:t>
            </a:r>
            <a:r>
              <a:rPr lang="fi-FI" sz="1800" dirty="0">
                <a:solidFill>
                  <a:prstClr val="black"/>
                </a:solidFill>
                <a:latin typeface="Segoe UI"/>
              </a:rPr>
              <a:t> KBLI 2020 </a:t>
            </a:r>
            <a:r>
              <a:rPr lang="fi-FI" sz="1800" dirty="0" err="1">
                <a:solidFill>
                  <a:prstClr val="black"/>
                </a:solidFill>
                <a:latin typeface="Segoe UI"/>
              </a:rPr>
              <a:t>yang</a:t>
            </a:r>
            <a:r>
              <a:rPr lang="fi-FI" sz="1800" dirty="0">
                <a:solidFill>
                  <a:prstClr val="black"/>
                </a:solidFill>
                <a:latin typeface="Segoe UI"/>
              </a:rPr>
              <a:t> </a:t>
            </a:r>
            <a:r>
              <a:rPr lang="fi-FI" sz="1800" dirty="0" err="1">
                <a:solidFill>
                  <a:prstClr val="black"/>
                </a:solidFill>
                <a:latin typeface="Segoe UI"/>
              </a:rPr>
              <a:t>Tidak</a:t>
            </a:r>
            <a:r>
              <a:rPr lang="fi-FI" sz="1800" dirty="0">
                <a:solidFill>
                  <a:prstClr val="black"/>
                </a:solidFill>
                <a:latin typeface="Segoe UI"/>
              </a:rPr>
              <a:t> </a:t>
            </a:r>
            <a:r>
              <a:rPr lang="fi-FI" sz="1800" dirty="0" err="1">
                <a:solidFill>
                  <a:prstClr val="black"/>
                </a:solidFill>
                <a:latin typeface="Segoe UI"/>
              </a:rPr>
              <a:t>Memenuhi</a:t>
            </a:r>
            <a:r>
              <a:rPr lang="fi-FI" sz="1800" dirty="0">
                <a:solidFill>
                  <a:prstClr val="black"/>
                </a:solidFill>
                <a:latin typeface="Segoe UI"/>
              </a:rPr>
              <a:t> </a:t>
            </a:r>
            <a:r>
              <a:rPr lang="fi-FI" sz="1800" dirty="0" err="1">
                <a:solidFill>
                  <a:prstClr val="black"/>
                </a:solidFill>
                <a:latin typeface="Segoe UI"/>
              </a:rPr>
              <a:t>Persyaratan</a:t>
            </a:r>
            <a:r>
              <a:rPr lang="fi-FI" sz="1800" dirty="0">
                <a:solidFill>
                  <a:prstClr val="black"/>
                </a:solidFill>
                <a:latin typeface="Segoe UI"/>
              </a:rPr>
              <a:t> </a:t>
            </a:r>
            <a:r>
              <a:rPr lang="fi-FI" sz="1800" dirty="0" err="1">
                <a:solidFill>
                  <a:prstClr val="black"/>
                </a:solidFill>
                <a:latin typeface="Segoe UI"/>
              </a:rPr>
              <a:t>Perizinan</a:t>
            </a:r>
            <a:r>
              <a:rPr lang="fi-FI" sz="1800" dirty="0">
                <a:solidFill>
                  <a:prstClr val="black"/>
                </a:solidFill>
                <a:latin typeface="Segoe UI"/>
              </a:rPr>
              <a:t> </a:t>
            </a:r>
            <a:r>
              <a:rPr lang="fi-FI" sz="1800" dirty="0" err="1">
                <a:solidFill>
                  <a:prstClr val="black"/>
                </a:solidFill>
                <a:latin typeface="Segoe UI"/>
              </a:rPr>
              <a:t>Berusaha</a:t>
            </a:r>
            <a:endParaRPr lang="fi-FI" sz="1800" dirty="0">
              <a:solidFill>
                <a:prstClr val="black"/>
              </a:solidFill>
              <a:latin typeface="Segoe UI"/>
            </a:endParaRPr>
          </a:p>
          <a:p>
            <a:pPr>
              <a:lnSpc>
                <a:spcPct val="100000"/>
              </a:lnSpc>
              <a:defRPr/>
            </a:pPr>
            <a:endParaRPr lang="fi-FI" sz="2800" b="1" dirty="0">
              <a:solidFill>
                <a:prstClr val="black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27606575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10236359" y="6436005"/>
            <a:ext cx="18469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charset="0"/>
                <a:ea typeface="+mn-ea"/>
                <a:cs typeface="+mn-cs"/>
              </a:rPr>
              <a:t>Data SIKI, 19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charset="0"/>
                <a:ea typeface="+mn-ea"/>
                <a:cs typeface="+mn-cs"/>
              </a:rPr>
              <a:t>Juni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charset="0"/>
                <a:ea typeface="+mn-ea"/>
                <a:cs typeface="+mn-cs"/>
              </a:rPr>
              <a:t> 2024</a:t>
            </a:r>
            <a:endParaRPr kumimoji="0" lang="id-ID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charset="0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BF9CDAC8-78BE-6A64-1ADF-EB00A5C340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614788"/>
              </p:ext>
            </p:extLst>
          </p:nvPr>
        </p:nvGraphicFramePr>
        <p:xfrm>
          <a:off x="1070297" y="1955675"/>
          <a:ext cx="9318462" cy="22285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725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26953">
                  <a:extLst>
                    <a:ext uri="{9D8B030D-6E8A-4147-A177-3AD203B41FA5}">
                      <a16:colId xmlns:a16="http://schemas.microsoft.com/office/drawing/2014/main" val="100051686"/>
                    </a:ext>
                  </a:extLst>
                </a:gridCol>
                <a:gridCol w="26624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6442">
                  <a:extLst>
                    <a:ext uri="{9D8B030D-6E8A-4147-A177-3AD203B41FA5}">
                      <a16:colId xmlns:a16="http://schemas.microsoft.com/office/drawing/2014/main" val="591053327"/>
                    </a:ext>
                  </a:extLst>
                </a:gridCol>
              </a:tblGrid>
              <a:tr h="404276">
                <a:tc>
                  <a:txBody>
                    <a:bodyPr/>
                    <a:lstStyle/>
                    <a:p>
                      <a:pPr marL="168275" indent="0" algn="ctr" fontAlgn="b"/>
                      <a:r>
                        <a:rPr lang="en-US" sz="1800" b="1" i="0" u="none" strike="noStrike" dirty="0">
                          <a:effectLst/>
                          <a:latin typeface="DM Sans" charset="0"/>
                          <a:ea typeface="DM Sans" charset="0"/>
                          <a:cs typeface="DM Sans" charset="0"/>
                        </a:rPr>
                        <a:t>KUALIFIKASI</a:t>
                      </a:r>
                      <a:endParaRPr lang="id-ID" sz="1800" b="1" i="0" u="none" strike="noStrike" dirty="0">
                        <a:effectLst/>
                        <a:latin typeface="DM Sans" charset="0"/>
                        <a:ea typeface="DM Sans" charset="0"/>
                        <a:cs typeface="DM Sans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68275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u="none" strike="noStrike" dirty="0">
                          <a:effectLst/>
                          <a:latin typeface="DM Sans" charset="0"/>
                          <a:ea typeface="DM Sans" charset="0"/>
                          <a:cs typeface="DM Sans" charset="0"/>
                        </a:rPr>
                        <a:t>SBU TERBIT</a:t>
                      </a:r>
                      <a:endParaRPr lang="id-ID" sz="1800" b="1" i="0" u="none" strike="noStrike" dirty="0">
                        <a:effectLst/>
                        <a:latin typeface="DM Sans" charset="0"/>
                        <a:ea typeface="DM Sans" charset="0"/>
                        <a:cs typeface="DM Sans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effectLst/>
                          <a:latin typeface="DM Sans" charset="0"/>
                          <a:ea typeface="DM Sans" charset="0"/>
                          <a:cs typeface="DM Sans" charset="0"/>
                        </a:rPr>
                        <a:t>SBU TIDAK SESUAI</a:t>
                      </a:r>
                      <a:endParaRPr lang="id-ID" sz="1800" b="1" i="0" u="none" strike="noStrike" dirty="0">
                        <a:effectLst/>
                        <a:latin typeface="DM Sans" charset="0"/>
                        <a:ea typeface="DM Sans" charset="0"/>
                        <a:cs typeface="DM Sans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effectLst/>
                          <a:latin typeface="DM Sans" charset="0"/>
                          <a:ea typeface="DM Sans" charset="0"/>
                          <a:cs typeface="DM Sans" charset="0"/>
                        </a:rPr>
                        <a:t>%</a:t>
                      </a:r>
                      <a:endParaRPr lang="id-ID" sz="1800" b="1" i="0" u="none" strike="noStrike" dirty="0">
                        <a:effectLst/>
                        <a:latin typeface="DM Sans" charset="0"/>
                        <a:ea typeface="DM Sans" charset="0"/>
                        <a:cs typeface="DM Sans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4517756"/>
                  </a:ext>
                </a:extLst>
              </a:tr>
              <a:tr h="317404">
                <a:tc>
                  <a:txBody>
                    <a:bodyPr/>
                    <a:lstStyle/>
                    <a:p>
                      <a:pPr marL="168275" indent="0" algn="l" fontAlgn="b"/>
                      <a:r>
                        <a:rPr lang="en-US" sz="1800" u="none" strike="noStrike" dirty="0" err="1">
                          <a:effectLst/>
                          <a:latin typeface="DM Sans" charset="0"/>
                          <a:ea typeface="DM Sans" charset="0"/>
                          <a:cs typeface="DM Sans" charset="0"/>
                        </a:rPr>
                        <a:t>Spesialis</a:t>
                      </a:r>
                      <a:endParaRPr lang="id-ID" sz="1800" b="0" i="0" u="none" strike="noStrike" dirty="0">
                        <a:effectLst/>
                        <a:latin typeface="DM Sans" charset="0"/>
                        <a:ea typeface="DM Sans" charset="0"/>
                        <a:cs typeface="DM Sans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68275" indent="0" algn="ctr" fontAlgn="b"/>
                      <a:r>
                        <a:rPr lang="en-US" sz="1800" b="0" i="0" u="none" strike="noStrike" dirty="0">
                          <a:effectLst/>
                          <a:latin typeface="DM Sans" charset="0"/>
                          <a:ea typeface="DM Sans" charset="0"/>
                          <a:cs typeface="DM Sans" charset="0"/>
                        </a:rPr>
                        <a:t>7.944</a:t>
                      </a:r>
                      <a:endParaRPr lang="id-ID" sz="1800" b="0" i="0" u="none" strike="noStrike" dirty="0">
                        <a:effectLst/>
                        <a:latin typeface="DM Sans" charset="0"/>
                        <a:ea typeface="DM Sans" charset="0"/>
                        <a:cs typeface="DM Sans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effectLst/>
                          <a:latin typeface="DM Sans" charset="0"/>
                          <a:ea typeface="DM Sans" charset="0"/>
                          <a:cs typeface="DM Sans" charset="0"/>
                        </a:rPr>
                        <a:t>7.189</a:t>
                      </a:r>
                      <a:endParaRPr lang="id-ID" sz="1800" b="0" i="0" u="none" strike="noStrike" dirty="0">
                        <a:effectLst/>
                        <a:latin typeface="DM Sans" charset="0"/>
                        <a:ea typeface="DM Sans" charset="0"/>
                        <a:cs typeface="DM Sans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dirty="0">
                          <a:effectLst/>
                          <a:latin typeface="DM Sans" charset="0"/>
                          <a:ea typeface="DM Sans" charset="0"/>
                          <a:cs typeface="DM Sans" charset="0"/>
                        </a:rPr>
                        <a:t>90,50%</a:t>
                      </a:r>
                      <a:endParaRPr lang="id-ID" sz="1800" b="0" i="0" u="none" strike="noStrike" dirty="0">
                        <a:effectLst/>
                        <a:latin typeface="DM Sans" charset="0"/>
                        <a:ea typeface="DM Sans" charset="0"/>
                        <a:cs typeface="DM Sans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7404">
                <a:tc>
                  <a:txBody>
                    <a:bodyPr/>
                    <a:lstStyle/>
                    <a:p>
                      <a:pPr marL="168275" indent="0" algn="l" fontAlgn="b"/>
                      <a:r>
                        <a:rPr lang="id-ID" sz="1800" u="none" strike="noStrike" dirty="0">
                          <a:effectLst/>
                          <a:latin typeface="DM Sans" charset="0"/>
                          <a:ea typeface="DM Sans" charset="0"/>
                          <a:cs typeface="DM Sans" charset="0"/>
                        </a:rPr>
                        <a:t>Besar</a:t>
                      </a:r>
                      <a:endParaRPr lang="id-ID" sz="1800" b="0" i="0" u="none" strike="noStrike" dirty="0">
                        <a:effectLst/>
                        <a:latin typeface="DM Sans" charset="0"/>
                        <a:ea typeface="DM Sans" charset="0"/>
                        <a:cs typeface="DM Sans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68275" indent="0" algn="ctr" fontAlgn="b"/>
                      <a:r>
                        <a:rPr lang="en-US" sz="1800" b="0" i="0" u="none" strike="noStrike" dirty="0">
                          <a:effectLst/>
                          <a:latin typeface="DM Sans" charset="0"/>
                          <a:ea typeface="DM Sans" charset="0"/>
                          <a:cs typeface="DM Sans" charset="0"/>
                        </a:rPr>
                        <a:t>3.261</a:t>
                      </a:r>
                      <a:endParaRPr lang="id-ID" sz="1800" b="0" i="0" u="none" strike="noStrike" dirty="0">
                        <a:effectLst/>
                        <a:latin typeface="DM Sans" charset="0"/>
                        <a:ea typeface="DM Sans" charset="0"/>
                        <a:cs typeface="DM Sans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effectLst/>
                          <a:latin typeface="DM Sans" charset="0"/>
                          <a:ea typeface="DM Sans" charset="0"/>
                          <a:cs typeface="DM Sans" charset="0"/>
                        </a:rPr>
                        <a:t>2.768</a:t>
                      </a:r>
                      <a:endParaRPr lang="id-ID" sz="1800" b="0" i="0" u="none" strike="noStrike" dirty="0">
                        <a:effectLst/>
                        <a:latin typeface="DM Sans" charset="0"/>
                        <a:ea typeface="DM Sans" charset="0"/>
                        <a:cs typeface="DM Sans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dirty="0">
                          <a:effectLst/>
                          <a:latin typeface="DM Sans" charset="0"/>
                          <a:ea typeface="DM Sans" charset="0"/>
                          <a:cs typeface="DM Sans" charset="0"/>
                        </a:rPr>
                        <a:t>84,88%</a:t>
                      </a:r>
                      <a:endParaRPr lang="id-ID" sz="1800" b="0" i="0" u="none" strike="noStrike" dirty="0">
                        <a:effectLst/>
                        <a:latin typeface="DM Sans" charset="0"/>
                        <a:ea typeface="DM Sans" charset="0"/>
                        <a:cs typeface="DM Sans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7404">
                <a:tc>
                  <a:txBody>
                    <a:bodyPr/>
                    <a:lstStyle/>
                    <a:p>
                      <a:pPr marL="168275" indent="0" algn="l" fontAlgn="b"/>
                      <a:r>
                        <a:rPr lang="id-ID" sz="1800" u="none" strike="noStrike" dirty="0">
                          <a:effectLst/>
                          <a:latin typeface="DM Sans" charset="0"/>
                          <a:ea typeface="DM Sans" charset="0"/>
                          <a:cs typeface="DM Sans" charset="0"/>
                        </a:rPr>
                        <a:t>Menengah</a:t>
                      </a:r>
                      <a:endParaRPr lang="id-ID" sz="1800" b="0" i="0" u="none" strike="noStrike" dirty="0">
                        <a:effectLst/>
                        <a:latin typeface="DM Sans" charset="0"/>
                        <a:ea typeface="DM Sans" charset="0"/>
                        <a:cs typeface="DM Sans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68275" indent="0" algn="ctr" fontAlgn="b"/>
                      <a:r>
                        <a:rPr lang="en-US" sz="1800" b="0" i="0" u="none" strike="noStrike" dirty="0">
                          <a:effectLst/>
                          <a:latin typeface="DM Sans" charset="0"/>
                          <a:ea typeface="DM Sans" charset="0"/>
                          <a:cs typeface="DM Sans" charset="0"/>
                        </a:rPr>
                        <a:t>9.136</a:t>
                      </a:r>
                      <a:endParaRPr lang="id-ID" sz="1800" b="0" i="0" u="none" strike="noStrike" dirty="0">
                        <a:effectLst/>
                        <a:latin typeface="DM Sans" charset="0"/>
                        <a:ea typeface="DM Sans" charset="0"/>
                        <a:cs typeface="DM Sans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effectLst/>
                          <a:latin typeface="DM Sans" charset="0"/>
                          <a:ea typeface="DM Sans" charset="0"/>
                          <a:cs typeface="DM Sans" charset="0"/>
                        </a:rPr>
                        <a:t>8.140</a:t>
                      </a:r>
                      <a:endParaRPr lang="id-ID" sz="1800" b="0" i="0" u="none" strike="noStrike" dirty="0">
                        <a:effectLst/>
                        <a:latin typeface="DM Sans" charset="0"/>
                        <a:ea typeface="DM Sans" charset="0"/>
                        <a:cs typeface="DM Sans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effectLst/>
                          <a:latin typeface="DM Sans" charset="0"/>
                          <a:ea typeface="DM Sans" charset="0"/>
                          <a:cs typeface="DM Sans" charset="0"/>
                        </a:rPr>
                        <a:t>89,10%</a:t>
                      </a:r>
                      <a:endParaRPr lang="id-ID" sz="1800" b="0" i="0" u="none" strike="noStrike" dirty="0">
                        <a:effectLst/>
                        <a:latin typeface="DM Sans" charset="0"/>
                        <a:ea typeface="DM Sans" charset="0"/>
                        <a:cs typeface="DM Sans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7404">
                <a:tc>
                  <a:txBody>
                    <a:bodyPr/>
                    <a:lstStyle/>
                    <a:p>
                      <a:pPr marL="168275" indent="0" algn="l" fontAlgn="b"/>
                      <a:r>
                        <a:rPr lang="id-ID" sz="1800" u="none" strike="noStrike" dirty="0">
                          <a:effectLst/>
                          <a:latin typeface="DM Sans" charset="0"/>
                          <a:ea typeface="DM Sans" charset="0"/>
                          <a:cs typeface="DM Sans" charset="0"/>
                        </a:rPr>
                        <a:t>Kecil</a:t>
                      </a:r>
                      <a:endParaRPr lang="id-ID" sz="1800" b="0" i="0" u="none" strike="noStrike" dirty="0">
                        <a:effectLst/>
                        <a:latin typeface="DM Sans" charset="0"/>
                        <a:ea typeface="DM Sans" charset="0"/>
                        <a:cs typeface="DM Sans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68275" indent="0" algn="ctr" fontAlgn="b"/>
                      <a:r>
                        <a:rPr lang="en-US" sz="1800" b="0" i="0" u="none" strike="noStrike" dirty="0">
                          <a:effectLst/>
                          <a:latin typeface="DM Sans" charset="0"/>
                          <a:ea typeface="DM Sans" charset="0"/>
                          <a:cs typeface="DM Sans" charset="0"/>
                        </a:rPr>
                        <a:t>209.679</a:t>
                      </a:r>
                      <a:endParaRPr lang="id-ID" sz="1800" b="0" i="0" u="none" strike="noStrike" dirty="0">
                        <a:effectLst/>
                        <a:latin typeface="DM Sans" charset="0"/>
                        <a:ea typeface="DM Sans" charset="0"/>
                        <a:cs typeface="DM Sans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effectLst/>
                          <a:latin typeface="DM Sans" charset="0"/>
                          <a:ea typeface="DM Sans" charset="0"/>
                          <a:cs typeface="DM Sans" charset="0"/>
                        </a:rPr>
                        <a:t>179.080</a:t>
                      </a:r>
                      <a:endParaRPr lang="id-ID" sz="1800" b="0" i="0" u="none" strike="noStrike" dirty="0">
                        <a:effectLst/>
                        <a:latin typeface="DM Sans" charset="0"/>
                        <a:ea typeface="DM Sans" charset="0"/>
                        <a:cs typeface="DM Sans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dirty="0">
                          <a:effectLst/>
                          <a:latin typeface="DM Sans" charset="0"/>
                          <a:ea typeface="DM Sans" charset="0"/>
                          <a:cs typeface="DM Sans" charset="0"/>
                        </a:rPr>
                        <a:t>85,41%</a:t>
                      </a:r>
                      <a:endParaRPr lang="id-ID" sz="1800" b="0" i="0" u="none" strike="noStrike" dirty="0">
                        <a:effectLst/>
                        <a:latin typeface="DM Sans" charset="0"/>
                        <a:ea typeface="DM Sans" charset="0"/>
                        <a:cs typeface="DM Sans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4686">
                <a:tc>
                  <a:txBody>
                    <a:bodyPr/>
                    <a:lstStyle/>
                    <a:p>
                      <a:pPr marL="168275" indent="0" algn="l" fontAlgn="b"/>
                      <a:r>
                        <a:rPr lang="id-ID" sz="1800" u="none" strike="noStrike" dirty="0">
                          <a:solidFill>
                            <a:schemeClr val="bg1"/>
                          </a:solidFill>
                          <a:effectLst/>
                          <a:latin typeface="DM Sans" charset="0"/>
                          <a:ea typeface="DM Sans" charset="0"/>
                          <a:cs typeface="DM Sans" charset="0"/>
                        </a:rPr>
                        <a:t>Grand Total</a:t>
                      </a:r>
                      <a:endParaRPr lang="id-ID" sz="1800" b="1" i="0" u="none" strike="noStrike" dirty="0">
                        <a:solidFill>
                          <a:schemeClr val="bg1"/>
                        </a:solidFill>
                        <a:effectLst/>
                        <a:latin typeface="DM Sans" charset="0"/>
                        <a:ea typeface="DM Sans" charset="0"/>
                        <a:cs typeface="DM Sans" charset="0"/>
                      </a:endParaRPr>
                    </a:p>
                  </a:txBody>
                  <a:tcPr marL="7620" marR="7620" marT="7620" marB="0">
                    <a:lnL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596D"/>
                    </a:solidFill>
                  </a:tcPr>
                </a:tc>
                <a:tc>
                  <a:txBody>
                    <a:bodyPr/>
                    <a:lstStyle/>
                    <a:p>
                      <a:pPr marL="168275" indent="0" algn="ctr" fontAlgn="b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DM Sans" charset="0"/>
                          <a:ea typeface="DM Sans" charset="0"/>
                          <a:cs typeface="DM Sans" charset="0"/>
                        </a:rPr>
                        <a:t>230.020 SBU (70.917 BU)</a:t>
                      </a:r>
                      <a:endParaRPr lang="id-ID" sz="1800" b="1" i="0" u="none" strike="noStrike" dirty="0">
                        <a:solidFill>
                          <a:schemeClr val="bg1"/>
                        </a:solidFill>
                        <a:effectLst/>
                        <a:latin typeface="DM Sans" charset="0"/>
                        <a:ea typeface="DM Sans" charset="0"/>
                        <a:cs typeface="DM Sans" charset="0"/>
                      </a:endParaRPr>
                    </a:p>
                  </a:txBody>
                  <a:tcPr marL="7620" marR="7620" marT="7620" marB="0">
                    <a:lnT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596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DM Sans" charset="0"/>
                          <a:ea typeface="DM Sans" charset="0"/>
                          <a:cs typeface="DM Sans" charset="0"/>
                        </a:rPr>
                        <a:t>197.177SBU (62.119 BU)</a:t>
                      </a:r>
                      <a:endParaRPr lang="id-ID" sz="1800" b="1" i="0" u="none" strike="noStrike" dirty="0">
                        <a:solidFill>
                          <a:schemeClr val="bg1"/>
                        </a:solidFill>
                        <a:effectLst/>
                        <a:latin typeface="DM Sans" charset="0"/>
                        <a:ea typeface="DM Sans" charset="0"/>
                        <a:cs typeface="DM Sans" charset="0"/>
                      </a:endParaRPr>
                    </a:p>
                  </a:txBody>
                  <a:tcPr marL="7620" marR="7620" marT="7620" marB="0">
                    <a:lnT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596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DM Sans" charset="0"/>
                          <a:ea typeface="DM Sans" charset="0"/>
                          <a:cs typeface="DM Sans" charset="0"/>
                        </a:rPr>
                        <a:t>85,72%</a:t>
                      </a:r>
                      <a:endParaRPr lang="id-ID" sz="1800" b="1" i="0" u="none" strike="noStrike" dirty="0">
                        <a:solidFill>
                          <a:schemeClr val="bg1"/>
                        </a:solidFill>
                        <a:effectLst/>
                        <a:latin typeface="DM Sans" charset="0"/>
                        <a:ea typeface="DM Sans" charset="0"/>
                        <a:cs typeface="DM Sans" charset="0"/>
                      </a:endParaRPr>
                    </a:p>
                  </a:txBody>
                  <a:tcPr marL="7620" marR="7620" marT="7620" marB="0">
                    <a:lnR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2596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2596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Round Same Side Corner Rectangle 1">
            <a:extLst>
              <a:ext uri="{FF2B5EF4-FFF2-40B4-BE49-F238E27FC236}">
                <a16:creationId xmlns:a16="http://schemas.microsoft.com/office/drawing/2014/main" id="{DC477E07-2A4F-EFF9-B83E-C583D3E6F5C2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ABA9951-C962-3A87-DA56-742620CDEC1B}"/>
              </a:ext>
            </a:extLst>
          </p:cNvPr>
          <p:cNvSpPr txBox="1">
            <a:spLocks/>
          </p:cNvSpPr>
          <p:nvPr/>
        </p:nvSpPr>
        <p:spPr>
          <a:xfrm>
            <a:off x="176914" y="169726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400" b="1" dirty="0">
                <a:solidFill>
                  <a:prstClr val="black"/>
                </a:solidFill>
                <a:latin typeface="Segoe UI"/>
              </a:rPr>
              <a:t>PEMANTAUAN TERHADAP SBU KBLI 2017 &amp; 2020</a:t>
            </a:r>
          </a:p>
          <a:p>
            <a:pPr>
              <a:lnSpc>
                <a:spcPct val="100000"/>
              </a:lnSpc>
              <a:defRPr/>
            </a:pPr>
            <a:r>
              <a:rPr lang="fi-FI" sz="2400" dirty="0">
                <a:solidFill>
                  <a:prstClr val="black"/>
                </a:solidFill>
                <a:latin typeface="Segoe UI"/>
              </a:rPr>
              <a:t>YANG TIDAK MEMENUHI PERSYARATAN PERIZINAN BERUSAHA</a:t>
            </a:r>
          </a:p>
          <a:p>
            <a:pPr>
              <a:lnSpc>
                <a:spcPct val="100000"/>
              </a:lnSpc>
              <a:defRPr/>
            </a:pPr>
            <a:endParaRPr lang="fi-FI" sz="2400" b="1" dirty="0">
              <a:solidFill>
                <a:prstClr val="black"/>
              </a:solidFill>
              <a:latin typeface="Segoe UI"/>
            </a:endParaRPr>
          </a:p>
        </p:txBody>
      </p:sp>
      <p:pic>
        <p:nvPicPr>
          <p:cNvPr id="8" name="Picture 7" descr="lgo sigap.png">
            <a:extLst>
              <a:ext uri="{FF2B5EF4-FFF2-40B4-BE49-F238E27FC236}">
                <a16:creationId xmlns:a16="http://schemas.microsoft.com/office/drawing/2014/main" id="{A5605891-302D-9721-DD54-F36BDBC448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09BDDA6-2B9B-9A60-AB77-5B98522889A5}"/>
              </a:ext>
            </a:extLst>
          </p:cNvPr>
          <p:cNvSpPr txBox="1"/>
          <p:nvPr/>
        </p:nvSpPr>
        <p:spPr>
          <a:xfrm>
            <a:off x="974489" y="5030343"/>
            <a:ext cx="70370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4155" marR="0" lvl="0" indent="-22415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defRPr/>
            </a:pPr>
            <a:r>
              <a:rPr lang="en-US" b="1" dirty="0">
                <a:solidFill>
                  <a:prstClr val="black"/>
                </a:solidFill>
                <a:latin typeface="DM Sans" charset="0"/>
              </a:rPr>
              <a:t> KETERSEDIAAN TENAGA KERJA KONSTRUKSI SBU KBLI 2017 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416C2C2-51F9-4F0A-3081-3AB0ABCD9BE0}"/>
              </a:ext>
            </a:extLst>
          </p:cNvPr>
          <p:cNvSpPr txBox="1"/>
          <p:nvPr/>
        </p:nvSpPr>
        <p:spPr>
          <a:xfrm>
            <a:off x="1173759" y="5438767"/>
            <a:ext cx="8656041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fontAlgn="t">
              <a:buFontTx/>
              <a:buAutoNum type="alphaLcPeriod"/>
              <a:defRPr/>
            </a:pPr>
            <a:r>
              <a:rPr lang="en-US" dirty="0">
                <a:latin typeface="DM Sans" charset="0"/>
              </a:rPr>
              <a:t>1.445 BU KBLI 2017 PJT </a:t>
            </a:r>
            <a:r>
              <a:rPr lang="en-US" dirty="0" err="1">
                <a:latin typeface="DM Sans" charset="0"/>
              </a:rPr>
              <a:t>kosong</a:t>
            </a:r>
            <a:r>
              <a:rPr lang="en-US" dirty="0">
                <a:latin typeface="DM Sans" charset="0"/>
              </a:rPr>
              <a:t> </a:t>
            </a:r>
            <a:r>
              <a:rPr kumimoji="0" lang="sv-SE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charset="0"/>
                <a:sym typeface="Symbol" panose="05050102010706020507" pitchFamily="18" charset="2"/>
              </a:rPr>
              <a:t></a:t>
            </a:r>
            <a:endParaRPr kumimoji="0" lang="sv-SE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DM Sans" charset="0"/>
            </a:endParaRPr>
          </a:p>
          <a:p>
            <a:pPr marL="342900" indent="-342900" fontAlgn="t">
              <a:buFontTx/>
              <a:buAutoNum type="alphaLcPeriod"/>
              <a:defRPr/>
            </a:pPr>
            <a:r>
              <a:rPr lang="en-US" dirty="0">
                <a:latin typeface="DM Sans" charset="0"/>
              </a:rPr>
              <a:t>190 BU KBLI 2017 </a:t>
            </a:r>
            <a:r>
              <a:rPr lang="en-US" dirty="0" err="1">
                <a:latin typeface="DM Sans" charset="0"/>
              </a:rPr>
              <a:t>tidak</a:t>
            </a:r>
            <a:r>
              <a:rPr lang="en-US" dirty="0">
                <a:latin typeface="DM Sans" charset="0"/>
              </a:rPr>
              <a:t> </a:t>
            </a:r>
            <a:r>
              <a:rPr lang="en-US" dirty="0" err="1">
                <a:latin typeface="DM Sans" charset="0"/>
              </a:rPr>
              <a:t>memiliki</a:t>
            </a:r>
            <a:r>
              <a:rPr lang="en-US" dirty="0">
                <a:latin typeface="DM Sans" charset="0"/>
              </a:rPr>
              <a:t> PJBU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charset="0"/>
                <a:sym typeface="Symbol" panose="05050102010706020507" pitchFamily="18" charset="2"/>
              </a:rPr>
              <a:t></a:t>
            </a:r>
            <a:endParaRPr lang="en-US" dirty="0">
              <a:latin typeface="DM Sans" charset="0"/>
            </a:endParaRPr>
          </a:p>
          <a:p>
            <a:pPr marL="342900" indent="-342900" fontAlgn="t">
              <a:buFontTx/>
              <a:buAutoNum type="alphaLcPeriod"/>
              <a:defRPr/>
            </a:pPr>
            <a:r>
              <a:rPr lang="en-US" dirty="0">
                <a:latin typeface="DM Sans" charset="0"/>
              </a:rPr>
              <a:t>28.684 SBU KBLI 2017 PJT/PJK/PJSK </a:t>
            </a:r>
            <a:r>
              <a:rPr lang="en-US" dirty="0" err="1">
                <a:latin typeface="DM Sans" charset="0"/>
              </a:rPr>
              <a:t>habis</a:t>
            </a:r>
            <a:r>
              <a:rPr lang="en-US" dirty="0">
                <a:latin typeface="DM Sans" charset="0"/>
              </a:rPr>
              <a:t> masa </a:t>
            </a:r>
            <a:r>
              <a:rPr lang="en-US" dirty="0" err="1">
                <a:latin typeface="DM Sans" charset="0"/>
              </a:rPr>
              <a:t>berlaku</a:t>
            </a:r>
            <a:r>
              <a:rPr lang="en-US" dirty="0">
                <a:latin typeface="DM Sans" charset="0"/>
              </a:rPr>
              <a:t> SKA/SKT</a:t>
            </a:r>
          </a:p>
          <a:p>
            <a:pPr marL="342900" indent="-342900" fontAlgn="t">
              <a:buFontTx/>
              <a:buAutoNum type="alphaLcPeriod"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M Sans" charset="0"/>
            </a:endParaRPr>
          </a:p>
          <a:p>
            <a:pPr marR="0" lvl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kumimoji="0" lang="sv-SE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A098D8F-C435-7E0D-1AAC-67CA7CB7108D}"/>
              </a:ext>
            </a:extLst>
          </p:cNvPr>
          <p:cNvSpPr txBox="1"/>
          <p:nvPr/>
        </p:nvSpPr>
        <p:spPr>
          <a:xfrm>
            <a:off x="557854" y="1400741"/>
            <a:ext cx="201048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i="1" dirty="0">
                <a:latin typeface="DM Sans" pitchFamily="2" charset="77"/>
              </a:rPr>
              <a:t>SBU KBLI 202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0B7A2F8-74E7-1986-62D0-391CCC63F9F3}"/>
              </a:ext>
            </a:extLst>
          </p:cNvPr>
          <p:cNvSpPr txBox="1"/>
          <p:nvPr/>
        </p:nvSpPr>
        <p:spPr>
          <a:xfrm>
            <a:off x="609951" y="4573759"/>
            <a:ext cx="19062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i="1" dirty="0">
                <a:latin typeface="DM Sans" pitchFamily="2" charset="77"/>
              </a:rPr>
              <a:t>SBU KBLI 2017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374C224-59DC-7E56-FDB4-0050B37FF0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94740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7C2E868-DC8F-9D87-6BF3-F00B993957B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24" y="168085"/>
            <a:ext cx="1088919" cy="362972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20E7F63A-0A3F-E851-C369-81530DA632DD}"/>
              </a:ext>
            </a:extLst>
          </p:cNvPr>
          <p:cNvGrpSpPr/>
          <p:nvPr/>
        </p:nvGrpSpPr>
        <p:grpSpPr>
          <a:xfrm>
            <a:off x="11088547" y="220925"/>
            <a:ext cx="948777" cy="183509"/>
            <a:chOff x="692631" y="1073281"/>
            <a:chExt cx="2497833" cy="483124"/>
          </a:xfrm>
        </p:grpSpPr>
        <p:pic>
          <p:nvPicPr>
            <p:cNvPr id="4" name="Picture 3" descr="Text, logo&#10;&#10;Description automatically generated">
              <a:extLst>
                <a:ext uri="{FF2B5EF4-FFF2-40B4-BE49-F238E27FC236}">
                  <a16:creationId xmlns:a16="http://schemas.microsoft.com/office/drawing/2014/main" id="{ED326856-5EAE-23FD-66B6-0FB79A4745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631" y="1073281"/>
              <a:ext cx="1270067" cy="483124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B7B11CC-1504-2BD2-77CD-1CF7F7F872A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06842" y="1126528"/>
              <a:ext cx="983622" cy="429877"/>
            </a:xfrm>
            <a:prstGeom prst="rect">
              <a:avLst/>
            </a:prstGeom>
          </p:spPr>
        </p:pic>
      </p:grpSp>
      <p:sp>
        <p:nvSpPr>
          <p:cNvPr id="6" name="Rectangle 5"/>
          <p:cNvSpPr/>
          <p:nvPr/>
        </p:nvSpPr>
        <p:spPr>
          <a:xfrm>
            <a:off x="0" y="42876"/>
            <a:ext cx="12192000" cy="125209"/>
          </a:xfrm>
          <a:prstGeom prst="rect">
            <a:avLst/>
          </a:prstGeom>
          <a:solidFill>
            <a:srgbClr val="1E33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E336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/>
          <a:srcRect t="66956"/>
          <a:stretch/>
        </p:blipFill>
        <p:spPr>
          <a:xfrm>
            <a:off x="9468352" y="0"/>
            <a:ext cx="1620195" cy="22153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/>
          <a:srcRect t="66956"/>
          <a:stretch/>
        </p:blipFill>
        <p:spPr>
          <a:xfrm>
            <a:off x="139027" y="6729871"/>
            <a:ext cx="1037876" cy="14191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46E4D31-D672-C555-139B-F11137285EA0}"/>
              </a:ext>
            </a:extLst>
          </p:cNvPr>
          <p:cNvSpPr txBox="1"/>
          <p:nvPr/>
        </p:nvSpPr>
        <p:spPr>
          <a:xfrm>
            <a:off x="1818477" y="260595"/>
            <a:ext cx="8802005" cy="58477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762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altLang="ko-KR" sz="32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REALISASI SERTIFIKASI LSBU</a:t>
            </a:r>
            <a:endParaRPr kumimoji="0" lang="fi-FI" altLang="ko-KR" sz="3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Plus Jakarta Sans" charset="0"/>
              <a:ea typeface="Plus Jakarta Sans" charset="0"/>
              <a:cs typeface="Plus Jakarta Sans" charset="0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6169396-0ECD-8E29-1F84-C33C2C605A9A}"/>
              </a:ext>
            </a:extLst>
          </p:cNvPr>
          <p:cNvGraphicFramePr>
            <a:graphicFrameLocks noGrp="1"/>
          </p:cNvGraphicFramePr>
          <p:nvPr/>
        </p:nvGraphicFramePr>
        <p:xfrm>
          <a:off x="283712" y="942975"/>
          <a:ext cx="11624575" cy="5438783"/>
        </p:xfrm>
        <a:graphic>
          <a:graphicData uri="http://schemas.openxmlformats.org/drawingml/2006/table">
            <a:tbl>
              <a:tblPr firstRow="1" lastRow="1" bandCol="1">
                <a:tableStyleId>{5C22544A-7EE6-4342-B048-85BDC9FD1C3A}</a:tableStyleId>
              </a:tblPr>
              <a:tblGrid>
                <a:gridCol w="4681647">
                  <a:extLst>
                    <a:ext uri="{9D8B030D-6E8A-4147-A177-3AD203B41FA5}">
                      <a16:colId xmlns:a16="http://schemas.microsoft.com/office/drawing/2014/main" val="2152171698"/>
                    </a:ext>
                  </a:extLst>
                </a:gridCol>
                <a:gridCol w="1534035">
                  <a:extLst>
                    <a:ext uri="{9D8B030D-6E8A-4147-A177-3AD203B41FA5}">
                      <a16:colId xmlns:a16="http://schemas.microsoft.com/office/drawing/2014/main" val="224700062"/>
                    </a:ext>
                  </a:extLst>
                </a:gridCol>
                <a:gridCol w="1034053">
                  <a:extLst>
                    <a:ext uri="{9D8B030D-6E8A-4147-A177-3AD203B41FA5}">
                      <a16:colId xmlns:a16="http://schemas.microsoft.com/office/drawing/2014/main" val="1305625501"/>
                    </a:ext>
                  </a:extLst>
                </a:gridCol>
                <a:gridCol w="1272681">
                  <a:extLst>
                    <a:ext uri="{9D8B030D-6E8A-4147-A177-3AD203B41FA5}">
                      <a16:colId xmlns:a16="http://schemas.microsoft.com/office/drawing/2014/main" val="1038997100"/>
                    </a:ext>
                  </a:extLst>
                </a:gridCol>
                <a:gridCol w="1034053">
                  <a:extLst>
                    <a:ext uri="{9D8B030D-6E8A-4147-A177-3AD203B41FA5}">
                      <a16:colId xmlns:a16="http://schemas.microsoft.com/office/drawing/2014/main" val="3587491545"/>
                    </a:ext>
                  </a:extLst>
                </a:gridCol>
                <a:gridCol w="1034053">
                  <a:extLst>
                    <a:ext uri="{9D8B030D-6E8A-4147-A177-3AD203B41FA5}">
                      <a16:colId xmlns:a16="http://schemas.microsoft.com/office/drawing/2014/main" val="1478318700"/>
                    </a:ext>
                  </a:extLst>
                </a:gridCol>
                <a:gridCol w="1034053">
                  <a:extLst>
                    <a:ext uri="{9D8B030D-6E8A-4147-A177-3AD203B41FA5}">
                      <a16:colId xmlns:a16="http://schemas.microsoft.com/office/drawing/2014/main" val="4005716683"/>
                    </a:ext>
                  </a:extLst>
                </a:gridCol>
              </a:tblGrid>
              <a:tr h="415174">
                <a:tc>
                  <a:txBody>
                    <a:bodyPr/>
                    <a:lstStyle/>
                    <a:p>
                      <a:pPr algn="ctr" fontAlgn="b"/>
                      <a:r>
                        <a:rPr lang="en-ID" sz="120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NAMA LSBU</a:t>
                      </a:r>
                      <a:endParaRPr lang="en-ID" sz="1200" b="0" i="0" u="none" strike="noStrike">
                        <a:solidFill>
                          <a:srgbClr val="000000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20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 JUMLAH PERMOHONAN </a:t>
                      </a:r>
                      <a:endParaRPr lang="en-ID" sz="1200" b="0" i="0" u="none" strike="noStrike">
                        <a:solidFill>
                          <a:srgbClr val="000000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20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 TIDAK LENGKAP </a:t>
                      </a:r>
                      <a:endParaRPr lang="en-ID" sz="1200" b="0" i="0" u="none" strike="noStrike">
                        <a:solidFill>
                          <a:srgbClr val="000000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20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 ANTRIAN PERMOHONAN </a:t>
                      </a:r>
                      <a:endParaRPr lang="en-ID" sz="1200" b="0" i="0" u="none" strike="noStrike">
                        <a:solidFill>
                          <a:srgbClr val="000000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20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 BERPROSES DI LSBU </a:t>
                      </a:r>
                      <a:endParaRPr lang="en-ID" sz="1200" b="0" i="0" u="none" strike="noStrike">
                        <a:solidFill>
                          <a:srgbClr val="000000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20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 DITOLAK </a:t>
                      </a:r>
                      <a:endParaRPr lang="en-ID" sz="1200" b="0" i="0" u="none" strike="noStrike">
                        <a:solidFill>
                          <a:srgbClr val="000000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20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 TERCETAK </a:t>
                      </a:r>
                      <a:endParaRPr lang="en-ID" sz="1200" b="0" i="0" u="none" strike="noStrike">
                        <a:solidFill>
                          <a:srgbClr val="000000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480316542"/>
                  </a:ext>
                </a:extLst>
              </a:tr>
              <a:tr h="242877">
                <a:tc>
                  <a:txBody>
                    <a:bodyPr/>
                    <a:lstStyle/>
                    <a:p>
                      <a:pPr algn="l" fontAlgn="b"/>
                      <a:r>
                        <a:rPr lang="en-ID" sz="1200" b="1" u="none" strike="noStrike">
                          <a:solidFill>
                            <a:schemeClr val="bg1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LSBU JASA KONSTRUKSI</a:t>
                      </a:r>
                      <a:endParaRPr lang="en-ID" sz="1200" b="1" i="0" u="none" strike="noStrike">
                        <a:solidFill>
                          <a:schemeClr val="bg1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b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400" b="1" u="none" strike="noStrike">
                          <a:solidFill>
                            <a:schemeClr val="bg1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 </a:t>
                      </a:r>
                      <a:endParaRPr lang="en-ID" sz="1400" b="1" i="0" u="none" strike="noStrike">
                        <a:solidFill>
                          <a:schemeClr val="bg1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b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400" b="1" u="none" strike="noStrike">
                          <a:solidFill>
                            <a:schemeClr val="bg1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 </a:t>
                      </a:r>
                      <a:endParaRPr lang="en-ID" sz="1400" b="1" i="0" u="none" strike="noStrike">
                        <a:solidFill>
                          <a:schemeClr val="bg1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b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400" b="1" u="none" strike="noStrike">
                          <a:solidFill>
                            <a:schemeClr val="bg1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 </a:t>
                      </a:r>
                      <a:endParaRPr lang="en-ID" sz="1400" b="1" i="0" u="none" strike="noStrike">
                        <a:solidFill>
                          <a:schemeClr val="bg1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b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400" b="1" u="none" strike="noStrike">
                          <a:solidFill>
                            <a:schemeClr val="bg1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 </a:t>
                      </a:r>
                      <a:endParaRPr lang="en-ID" sz="1400" b="1" i="0" u="none" strike="noStrike">
                        <a:solidFill>
                          <a:schemeClr val="bg1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b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400" b="1" u="none" strike="noStrike">
                          <a:solidFill>
                            <a:schemeClr val="bg1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 </a:t>
                      </a:r>
                      <a:endParaRPr lang="en-ID" sz="1400" b="1" i="0" u="none" strike="noStrike">
                        <a:solidFill>
                          <a:schemeClr val="bg1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b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400" b="1" u="none" strike="noStrike">
                          <a:solidFill>
                            <a:schemeClr val="bg1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 </a:t>
                      </a:r>
                      <a:endParaRPr lang="en-ID" sz="1400" b="1" i="0" u="none" strike="noStrike">
                        <a:solidFill>
                          <a:schemeClr val="bg1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b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5796226"/>
                  </a:ext>
                </a:extLst>
              </a:tr>
              <a:tr h="242877">
                <a:tc>
                  <a:txBody>
                    <a:bodyPr/>
                    <a:lstStyle/>
                    <a:p>
                      <a:pPr algn="l" fontAlgn="ctr"/>
                      <a:r>
                        <a:rPr lang="en-ID" sz="120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ANDALAN SERTIFIKASI KONTRAKTOR NASIONAL (ASKONAS)</a:t>
                      </a:r>
                      <a:endParaRPr lang="en-ID" sz="1200" b="0" i="0" u="none" strike="noStrike">
                        <a:solidFill>
                          <a:srgbClr val="212529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063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4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4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749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99591857"/>
                  </a:ext>
                </a:extLst>
              </a:tr>
              <a:tr h="242877">
                <a:tc>
                  <a:txBody>
                    <a:bodyPr/>
                    <a:lstStyle/>
                    <a:p>
                      <a:pPr algn="l" fontAlgn="ctr"/>
                      <a:r>
                        <a:rPr lang="en-ID" sz="120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ASPEKNAS KONSTRUKSI MANDIRI (ASPEKNAS)</a:t>
                      </a:r>
                      <a:endParaRPr lang="en-ID" sz="1200" b="0" i="0" u="none" strike="noStrike">
                        <a:solidFill>
                          <a:srgbClr val="212529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1806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264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45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24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72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8188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99326390"/>
                  </a:ext>
                </a:extLst>
              </a:tr>
              <a:tr h="242877">
                <a:tc>
                  <a:txBody>
                    <a:bodyPr/>
                    <a:lstStyle/>
                    <a:p>
                      <a:pPr algn="l" fontAlgn="ctr"/>
                      <a:r>
                        <a:rPr lang="en-ID" sz="120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Gamana Krida Bhakti (GAPENSI)</a:t>
                      </a:r>
                      <a:endParaRPr lang="en-ID" sz="1200" b="0" i="0" u="none" strike="noStrike">
                        <a:solidFill>
                          <a:srgbClr val="212529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5856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755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5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24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5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4428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80445562"/>
                  </a:ext>
                </a:extLst>
              </a:tr>
              <a:tr h="242877">
                <a:tc>
                  <a:txBody>
                    <a:bodyPr/>
                    <a:lstStyle/>
                    <a:p>
                      <a:pPr algn="l" fontAlgn="ctr"/>
                      <a:r>
                        <a:rPr lang="en-ID" sz="120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LSBU GAPEKNAS INFRASTRUKTUR (GAPEKNAS)</a:t>
                      </a:r>
                      <a:endParaRPr lang="en-ID" sz="1200" b="0" i="0" u="none" strike="noStrike">
                        <a:solidFill>
                          <a:srgbClr val="212529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4329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233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6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36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93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3214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58116347"/>
                  </a:ext>
                </a:extLst>
              </a:tr>
              <a:tr h="242877">
                <a:tc>
                  <a:txBody>
                    <a:bodyPr/>
                    <a:lstStyle/>
                    <a:p>
                      <a:pPr algn="l" fontAlgn="ctr"/>
                      <a:r>
                        <a:rPr lang="en-ID" sz="120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LSBU KONSTRUKSI INDONESIA (ASPEKINDO)</a:t>
                      </a:r>
                      <a:endParaRPr lang="en-ID" sz="1200" b="0" i="0" u="none" strike="noStrike">
                        <a:solidFill>
                          <a:srgbClr val="212529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30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25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5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5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876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83473346"/>
                  </a:ext>
                </a:extLst>
              </a:tr>
              <a:tr h="242877">
                <a:tc>
                  <a:txBody>
                    <a:bodyPr/>
                    <a:lstStyle/>
                    <a:p>
                      <a:pPr algn="l" fontAlgn="ctr"/>
                      <a:r>
                        <a:rPr lang="en-ID" sz="120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PT. SERBU KONSTRUKSI MANDIRI</a:t>
                      </a:r>
                      <a:endParaRPr lang="en-ID" sz="1200" b="0" i="0" u="none" strike="noStrike">
                        <a:solidFill>
                          <a:srgbClr val="212529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044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94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6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3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877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93300546"/>
                  </a:ext>
                </a:extLst>
              </a:tr>
              <a:tr h="408946">
                <a:tc>
                  <a:txBody>
                    <a:bodyPr/>
                    <a:lstStyle/>
                    <a:p>
                      <a:pPr algn="l" fontAlgn="ctr"/>
                      <a:r>
                        <a:rPr lang="en-ID" sz="120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SERTIFIKASI BADAN USAHA GABUNGAN PERUSAHAAN KONSTRUKSI NASIONAL (GAPEKSINDO)</a:t>
                      </a:r>
                      <a:endParaRPr lang="en-ID" sz="1200" b="0" i="0" u="none" strike="noStrike">
                        <a:solidFill>
                          <a:srgbClr val="212529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55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65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5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6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197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73848181"/>
                  </a:ext>
                </a:extLst>
              </a:tr>
              <a:tr h="242877">
                <a:tc>
                  <a:txBody>
                    <a:bodyPr/>
                    <a:lstStyle/>
                    <a:p>
                      <a:pPr algn="l" fontAlgn="ctr"/>
                      <a:r>
                        <a:rPr lang="en-ID" sz="120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SERTIFIKASI KONTRAKTOR INDONESIA (AKI)</a:t>
                      </a:r>
                      <a:endParaRPr lang="en-ID" sz="1200" b="0" i="0" u="none" strike="noStrike">
                        <a:solidFill>
                          <a:srgbClr val="212529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0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9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69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08264057"/>
                  </a:ext>
                </a:extLst>
              </a:tr>
              <a:tr h="242877">
                <a:tc>
                  <a:txBody>
                    <a:bodyPr/>
                    <a:lstStyle/>
                    <a:p>
                      <a:pPr algn="l" fontAlgn="ctr"/>
                      <a:r>
                        <a:rPr lang="en-ID" sz="120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PT PANCA SATYA JAYATAMA NUSANTARA (GABPEKNAS)</a:t>
                      </a:r>
                      <a:endParaRPr lang="en-ID" sz="1200" b="0" i="0" u="none" strike="noStrike">
                        <a:solidFill>
                          <a:srgbClr val="212529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327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8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2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294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71874881"/>
                  </a:ext>
                </a:extLst>
              </a:tr>
              <a:tr h="242877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ASPIRASI ASPAL DAN BETON INDONESIA (PT AABI)</a:t>
                      </a:r>
                      <a:endParaRPr lang="it-IT" sz="1200" b="0" i="0" u="none" strike="noStrike">
                        <a:solidFill>
                          <a:srgbClr val="212529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7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3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56022759"/>
                  </a:ext>
                </a:extLst>
              </a:tr>
              <a:tr h="242877">
                <a:tc>
                  <a:txBody>
                    <a:bodyPr/>
                    <a:lstStyle/>
                    <a:p>
                      <a:pPr algn="l" fontAlgn="ctr"/>
                      <a:r>
                        <a:rPr lang="en-ID" sz="120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PT. JASA SERTIFIKASI GAPKAINDO</a:t>
                      </a:r>
                      <a:endParaRPr lang="en-ID" sz="1200" b="0" i="0" u="none" strike="noStrike">
                        <a:solidFill>
                          <a:srgbClr val="212529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8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30314813"/>
                  </a:ext>
                </a:extLst>
              </a:tr>
              <a:tr h="242877">
                <a:tc>
                  <a:txBody>
                    <a:bodyPr/>
                    <a:lstStyle/>
                    <a:p>
                      <a:pPr algn="l" fontAlgn="b"/>
                      <a:r>
                        <a:rPr lang="en-ID" sz="1200" b="1" u="none" strike="noStrike">
                          <a:solidFill>
                            <a:schemeClr val="bg1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LSBU JASA KONSULTANSI</a:t>
                      </a:r>
                      <a:endParaRPr lang="en-ID" sz="1200" b="1" i="0" u="none" strike="noStrike">
                        <a:solidFill>
                          <a:schemeClr val="bg1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b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 </a:t>
                      </a:r>
                    </a:p>
                  </a:txBody>
                  <a:tcPr marL="9525" marR="9525" marT="9525" marB="0" anchor="b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 </a:t>
                      </a:r>
                    </a:p>
                  </a:txBody>
                  <a:tcPr marL="9525" marR="9525" marT="9525" marB="0" anchor="b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 </a:t>
                      </a:r>
                    </a:p>
                  </a:txBody>
                  <a:tcPr marL="9525" marR="9525" marT="9525" marB="0" anchor="b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 </a:t>
                      </a:r>
                    </a:p>
                  </a:txBody>
                  <a:tcPr marL="9525" marR="9525" marT="9525" marB="0" anchor="b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 </a:t>
                      </a:r>
                    </a:p>
                  </a:txBody>
                  <a:tcPr marL="9525" marR="9525" marT="9525" marB="0" anchor="b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 </a:t>
                      </a:r>
                    </a:p>
                  </a:txBody>
                  <a:tcPr marL="9525" marR="9525" marT="9525" marB="0" anchor="b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6839422"/>
                  </a:ext>
                </a:extLst>
              </a:tr>
              <a:tr h="242877">
                <a:tc>
                  <a:txBody>
                    <a:bodyPr/>
                    <a:lstStyle/>
                    <a:p>
                      <a:pPr algn="l" fontAlgn="ctr"/>
                      <a:r>
                        <a:rPr lang="en-ID" sz="120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Lembaga Sertifikasi INKINDO</a:t>
                      </a:r>
                      <a:endParaRPr lang="en-ID" sz="1200" b="0" i="0" u="none" strike="noStrike">
                        <a:solidFill>
                          <a:srgbClr val="212529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234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577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9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5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8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413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75953173"/>
                  </a:ext>
                </a:extLst>
              </a:tr>
              <a:tr h="242877">
                <a:tc>
                  <a:txBody>
                    <a:bodyPr/>
                    <a:lstStyle/>
                    <a:p>
                      <a:pPr algn="l" fontAlgn="ctr"/>
                      <a:r>
                        <a:rPr lang="fi-FI" sz="120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PT SERTIFIKASI BADAN USAHA JASA KONSULTANSI (PERKINDO)</a:t>
                      </a:r>
                      <a:endParaRPr lang="fi-FI" sz="1200" b="0" i="0" u="none" strike="noStrike">
                        <a:solidFill>
                          <a:srgbClr val="212529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036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8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6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5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737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60413595"/>
                  </a:ext>
                </a:extLst>
              </a:tr>
              <a:tr h="242877">
                <a:tc>
                  <a:txBody>
                    <a:bodyPr/>
                    <a:lstStyle/>
                    <a:p>
                      <a:pPr algn="l" fontAlgn="ctr"/>
                      <a:r>
                        <a:rPr lang="en-ID" sz="120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PERKONINDO </a:t>
                      </a:r>
                      <a:endParaRPr lang="en-ID" sz="1200" b="0" i="0" u="none" strike="noStrike">
                        <a:solidFill>
                          <a:srgbClr val="212529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25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7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4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98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60191324"/>
                  </a:ext>
                </a:extLst>
              </a:tr>
              <a:tr h="242877">
                <a:tc>
                  <a:txBody>
                    <a:bodyPr/>
                    <a:lstStyle/>
                    <a:p>
                      <a:pPr algn="l" fontAlgn="b"/>
                      <a:r>
                        <a:rPr lang="en-ID" sz="1200" b="1" u="none" strike="noStrike">
                          <a:solidFill>
                            <a:schemeClr val="bg1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LSBU JASA TERINTEGRASI</a:t>
                      </a:r>
                      <a:endParaRPr lang="en-ID" sz="1200" b="1" i="0" u="none" strike="noStrike">
                        <a:solidFill>
                          <a:schemeClr val="bg1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b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 </a:t>
                      </a:r>
                    </a:p>
                  </a:txBody>
                  <a:tcPr marL="9525" marR="9525" marT="9525" marB="0" anchor="b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 </a:t>
                      </a:r>
                    </a:p>
                  </a:txBody>
                  <a:tcPr marL="9525" marR="9525" marT="9525" marB="0" anchor="b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 </a:t>
                      </a:r>
                    </a:p>
                  </a:txBody>
                  <a:tcPr marL="9525" marR="9525" marT="9525" marB="0" anchor="b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 </a:t>
                      </a:r>
                    </a:p>
                  </a:txBody>
                  <a:tcPr marL="9525" marR="9525" marT="9525" marB="0" anchor="b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 </a:t>
                      </a:r>
                    </a:p>
                  </a:txBody>
                  <a:tcPr marL="9525" marR="9525" marT="9525" marB="0" anchor="b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 </a:t>
                      </a:r>
                    </a:p>
                  </a:txBody>
                  <a:tcPr marL="9525" marR="9525" marT="9525" marB="0" anchor="b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7957654"/>
                  </a:ext>
                </a:extLst>
              </a:tr>
              <a:tr h="242877">
                <a:tc>
                  <a:txBody>
                    <a:bodyPr/>
                    <a:lstStyle/>
                    <a:p>
                      <a:pPr algn="l" fontAlgn="ctr"/>
                      <a:r>
                        <a:rPr lang="en-ID" sz="120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BINA MITRA RANCANGBANGUN (GAPENRI)</a:t>
                      </a:r>
                      <a:endParaRPr lang="en-ID" sz="1200" b="0" i="0" u="none" strike="noStrike">
                        <a:solidFill>
                          <a:srgbClr val="212529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28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6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82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68553511"/>
                  </a:ext>
                </a:extLst>
              </a:tr>
              <a:tr h="242877">
                <a:tc>
                  <a:txBody>
                    <a:bodyPr/>
                    <a:lstStyle/>
                    <a:p>
                      <a:pPr algn="l" fontAlgn="ctr"/>
                      <a:r>
                        <a:rPr lang="en-ID" sz="120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SERTIFIKASI KONTRAKTOR TERINTEGRASI INDONESIA (AKTI)</a:t>
                      </a:r>
                      <a:endParaRPr lang="en-ID" sz="1200" b="0" i="0" u="none" strike="noStrike">
                        <a:solidFill>
                          <a:srgbClr val="212529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27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6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8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05540787"/>
                  </a:ext>
                </a:extLst>
              </a:tr>
              <a:tr h="242877">
                <a:tc>
                  <a:txBody>
                    <a:bodyPr/>
                    <a:lstStyle/>
                    <a:p>
                      <a:pPr algn="l" fontAlgn="b"/>
                      <a:r>
                        <a:rPr lang="en-ID" sz="1200" b="1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TOTAL</a:t>
                      </a:r>
                      <a:endParaRPr lang="en-ID" sz="1200" b="1" i="0" u="none" strike="noStrike">
                        <a:solidFill>
                          <a:srgbClr val="000000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1" i="0" u="none" strike="noStrike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30977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1" i="0" u="none" strike="noStrike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3739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1" i="0" u="none" strike="noStrike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88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1" i="0" u="none" strike="noStrike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39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1" i="0" u="none" strike="noStrike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266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1" i="0" u="none" strike="noStrike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22204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40515114"/>
                  </a:ext>
                </a:extLst>
              </a:tr>
            </a:tbl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84F595F-F8F2-A5AC-4709-9D38E6D02646}"/>
              </a:ext>
            </a:extLst>
          </p:cNvPr>
          <p:cNvSpPr/>
          <p:nvPr/>
        </p:nvSpPr>
        <p:spPr>
          <a:xfrm>
            <a:off x="9353551" y="6486045"/>
            <a:ext cx="2838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762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altLang="ko-KR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Data SIKI 31 Mei 2024</a:t>
            </a:r>
          </a:p>
        </p:txBody>
      </p:sp>
    </p:spTree>
    <p:extLst>
      <p:ext uri="{BB962C8B-B14F-4D97-AF65-F5344CB8AC3E}">
        <p14:creationId xmlns:p14="http://schemas.microsoft.com/office/powerpoint/2010/main" val="36423916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60F44A-8667-9727-9535-96242F9F13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" name="Picture 191" descr="lgo sigap.png">
            <a:extLst>
              <a:ext uri="{FF2B5EF4-FFF2-40B4-BE49-F238E27FC236}">
                <a16:creationId xmlns:a16="http://schemas.microsoft.com/office/drawing/2014/main" id="{9F44043F-1BAA-A689-B6BC-21FA6B1DD3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196" name="Round Same Side Corner Rectangle 1">
            <a:extLst>
              <a:ext uri="{FF2B5EF4-FFF2-40B4-BE49-F238E27FC236}">
                <a16:creationId xmlns:a16="http://schemas.microsoft.com/office/drawing/2014/main" id="{7A5111B2-20D4-35DA-3681-04A67C3F078F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7" name="Title 1">
            <a:extLst>
              <a:ext uri="{FF2B5EF4-FFF2-40B4-BE49-F238E27FC236}">
                <a16:creationId xmlns:a16="http://schemas.microsoft.com/office/drawing/2014/main" id="{BC491239-F948-E803-16A0-DB1E52C2E398}"/>
              </a:ext>
            </a:extLst>
          </p:cNvPr>
          <p:cNvSpPr txBox="1">
            <a:spLocks/>
          </p:cNvSpPr>
          <p:nvPr/>
        </p:nvSpPr>
        <p:spPr>
          <a:xfrm>
            <a:off x="318804" y="169194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3200" b="1" dirty="0">
                <a:solidFill>
                  <a:prstClr val="black"/>
                </a:solidFill>
                <a:latin typeface="Segoe UI"/>
              </a:rPr>
              <a:t>PERBANDINGAN TUGA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C40007-82C7-1D18-6D68-F593F2B0FC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706585A-0891-F095-1B27-2F74812557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5116" y="901852"/>
            <a:ext cx="10321403" cy="4915326"/>
          </a:xfrm>
          <a:prstGeom prst="rect">
            <a:avLst/>
          </a:prstGeom>
        </p:spPr>
      </p:pic>
      <p:sp>
        <p:nvSpPr>
          <p:cNvPr id="15" name="Arrow: Down 8">
            <a:extLst>
              <a:ext uri="{FF2B5EF4-FFF2-40B4-BE49-F238E27FC236}">
                <a16:creationId xmlns:a16="http://schemas.microsoft.com/office/drawing/2014/main" id="{68D8847D-764A-88C8-858F-36429DAE3E49}"/>
              </a:ext>
            </a:extLst>
          </p:cNvPr>
          <p:cNvSpPr/>
          <p:nvPr/>
        </p:nvSpPr>
        <p:spPr>
          <a:xfrm>
            <a:off x="9895421" y="5720363"/>
            <a:ext cx="276446" cy="325324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FE4B796-77CF-0D66-BC5C-B996AC9CC4EF}"/>
              </a:ext>
            </a:extLst>
          </p:cNvPr>
          <p:cNvSpPr txBox="1"/>
          <p:nvPr/>
        </p:nvSpPr>
        <p:spPr>
          <a:xfrm>
            <a:off x="9386980" y="6055967"/>
            <a:ext cx="136608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</a:rPr>
              <a:t>Dicabut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</a:rPr>
              <a:t>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</a:rPr>
              <a:t>dengan</a:t>
            </a: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M Sans" pitchFamily="2" charset="77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</a:rPr>
              <a:t>UU 6/2023</a:t>
            </a:r>
          </a:p>
        </p:txBody>
      </p:sp>
    </p:spTree>
    <p:extLst>
      <p:ext uri="{BB962C8B-B14F-4D97-AF65-F5344CB8AC3E}">
        <p14:creationId xmlns:p14="http://schemas.microsoft.com/office/powerpoint/2010/main" val="268148669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8CB791C-9827-454F-3523-41CE1BCFE945}"/>
              </a:ext>
            </a:extLst>
          </p:cNvPr>
          <p:cNvSpPr txBox="1"/>
          <p:nvPr/>
        </p:nvSpPr>
        <p:spPr>
          <a:xfrm>
            <a:off x="596348" y="1271168"/>
            <a:ext cx="10800522" cy="1077218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en-US" sz="1600" b="1" dirty="0" err="1">
                <a:solidFill>
                  <a:srgbClr val="FF0000"/>
                </a:solidFill>
                <a:latin typeface="DM Sans" pitchFamily="2" charset="77"/>
              </a:rPr>
              <a:t>Surveilen</a:t>
            </a:r>
            <a:r>
              <a:rPr lang="en-US" sz="1600" b="1" dirty="0">
                <a:solidFill>
                  <a:srgbClr val="FF0000"/>
                </a:solidFill>
                <a:latin typeface="DM Sans" pitchFamily="2" charset="77"/>
              </a:rPr>
              <a:t> </a:t>
            </a:r>
            <a:r>
              <a:rPr lang="en-US" sz="1600" b="1" dirty="0" err="1">
                <a:solidFill>
                  <a:srgbClr val="FF0000"/>
                </a:solidFill>
                <a:latin typeface="DM Sans" pitchFamily="2" charset="77"/>
              </a:rPr>
              <a:t>dilakukan</a:t>
            </a:r>
            <a:r>
              <a:rPr lang="en-US" sz="1600" b="1" dirty="0">
                <a:solidFill>
                  <a:srgbClr val="FF0000"/>
                </a:solidFill>
                <a:latin typeface="DM Sans" pitchFamily="2" charset="77"/>
              </a:rPr>
              <a:t> </a:t>
            </a:r>
            <a:r>
              <a:rPr lang="en-US" sz="1600" b="1" dirty="0" err="1">
                <a:solidFill>
                  <a:srgbClr val="FF0000"/>
                </a:solidFill>
                <a:latin typeface="DM Sans" pitchFamily="2" charset="77"/>
              </a:rPr>
              <a:t>dalam</a:t>
            </a:r>
            <a:r>
              <a:rPr lang="en-US" sz="1600" b="1" dirty="0">
                <a:solidFill>
                  <a:srgbClr val="FF0000"/>
                </a:solidFill>
                <a:latin typeface="DM Sans" pitchFamily="2" charset="77"/>
              </a:rPr>
              <a:t> </a:t>
            </a:r>
            <a:r>
              <a:rPr lang="en-US" sz="1600" b="1" dirty="0" err="1">
                <a:solidFill>
                  <a:srgbClr val="FF0000"/>
                </a:solidFill>
                <a:latin typeface="DM Sans" pitchFamily="2" charset="77"/>
              </a:rPr>
              <a:t>rangka</a:t>
            </a:r>
            <a:r>
              <a:rPr lang="en-US" sz="1600" b="1" dirty="0">
                <a:solidFill>
                  <a:srgbClr val="FF0000"/>
                </a:solidFill>
                <a:latin typeface="DM Sans" pitchFamily="2" charset="77"/>
              </a:rPr>
              <a:t> </a:t>
            </a:r>
            <a:r>
              <a:rPr lang="en-US" sz="1600" b="1" dirty="0" err="1">
                <a:solidFill>
                  <a:srgbClr val="FF0000"/>
                </a:solidFill>
                <a:latin typeface="DM Sans" pitchFamily="2" charset="77"/>
              </a:rPr>
              <a:t>pemeliharaan</a:t>
            </a:r>
            <a:r>
              <a:rPr lang="en-US" sz="1600" b="1" dirty="0">
                <a:solidFill>
                  <a:srgbClr val="FF0000"/>
                </a:solidFill>
                <a:latin typeface="DM Sans" pitchFamily="2" charset="77"/>
              </a:rPr>
              <a:t> SBU dan </a:t>
            </a:r>
            <a:r>
              <a:rPr lang="en-US" sz="1600" b="1" dirty="0" err="1">
                <a:solidFill>
                  <a:srgbClr val="FF0000"/>
                </a:solidFill>
                <a:latin typeface="DM Sans" pitchFamily="2" charset="77"/>
              </a:rPr>
              <a:t>memastikan</a:t>
            </a:r>
            <a:r>
              <a:rPr lang="en-US" sz="1600" b="1" dirty="0">
                <a:solidFill>
                  <a:srgbClr val="FF0000"/>
                </a:solidFill>
                <a:latin typeface="DM Sans" pitchFamily="2" charset="77"/>
              </a:rPr>
              <a:t> </a:t>
            </a:r>
            <a:r>
              <a:rPr lang="en-US" sz="1600" b="1" dirty="0" err="1">
                <a:solidFill>
                  <a:srgbClr val="FF0000"/>
                </a:solidFill>
                <a:latin typeface="DM Sans" pitchFamily="2" charset="77"/>
              </a:rPr>
              <a:t>konsistensi</a:t>
            </a:r>
            <a:r>
              <a:rPr lang="en-US" sz="1600" b="1" dirty="0">
                <a:solidFill>
                  <a:srgbClr val="FF0000"/>
                </a:solidFill>
                <a:latin typeface="DM Sans" pitchFamily="2" charset="77"/>
              </a:rPr>
              <a:t> BUJK </a:t>
            </a:r>
            <a:r>
              <a:rPr lang="en-US" sz="1600" b="1" dirty="0" err="1">
                <a:solidFill>
                  <a:srgbClr val="FF0000"/>
                </a:solidFill>
                <a:latin typeface="DM Sans" pitchFamily="2" charset="77"/>
              </a:rPr>
              <a:t>terhadap</a:t>
            </a:r>
            <a:r>
              <a:rPr lang="en-US" sz="1600" b="1" dirty="0">
                <a:solidFill>
                  <a:srgbClr val="FF0000"/>
                </a:solidFill>
                <a:latin typeface="DM Sans" pitchFamily="2" charset="77"/>
              </a:rPr>
              <a:t> </a:t>
            </a:r>
            <a:r>
              <a:rPr lang="en-US" sz="1600" b="1" dirty="0" err="1">
                <a:solidFill>
                  <a:srgbClr val="FF0000"/>
                </a:solidFill>
                <a:latin typeface="DM Sans" pitchFamily="2" charset="77"/>
              </a:rPr>
              <a:t>persyaratan</a:t>
            </a:r>
            <a:r>
              <a:rPr lang="en-US" sz="1600" b="1" dirty="0">
                <a:solidFill>
                  <a:srgbClr val="FF0000"/>
                </a:solidFill>
                <a:latin typeface="DM Sans" pitchFamily="2" charset="77"/>
              </a:rPr>
              <a:t> </a:t>
            </a:r>
            <a:r>
              <a:rPr lang="en-US" sz="1600" b="1" dirty="0" err="1">
                <a:solidFill>
                  <a:srgbClr val="FF0000"/>
                </a:solidFill>
                <a:latin typeface="DM Sans" pitchFamily="2" charset="77"/>
              </a:rPr>
              <a:t>sertifikasi</a:t>
            </a:r>
            <a:r>
              <a:rPr lang="en-US" sz="1600" dirty="0">
                <a:latin typeface="DM Sans" pitchFamily="2" charset="77"/>
              </a:rPr>
              <a:t>, </a:t>
            </a:r>
            <a:r>
              <a:rPr lang="en-US" sz="1600" dirty="0" err="1">
                <a:latin typeface="DM Sans" pitchFamily="2" charset="77"/>
              </a:rPr>
              <a:t>mencakup</a:t>
            </a:r>
            <a:r>
              <a:rPr lang="en-US" sz="1600" dirty="0">
                <a:latin typeface="DM Sans" pitchFamily="2" charset="77"/>
              </a:rPr>
              <a:t> </a:t>
            </a:r>
            <a:r>
              <a:rPr lang="en-US" sz="1600" dirty="0" err="1">
                <a:latin typeface="DM Sans" pitchFamily="2" charset="77"/>
              </a:rPr>
              <a:t>kegiatan</a:t>
            </a:r>
            <a:r>
              <a:rPr lang="en-US" sz="1600" dirty="0">
                <a:latin typeface="DM Sans" pitchFamily="2" charset="77"/>
              </a:rPr>
              <a:t>: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600" dirty="0" err="1">
                <a:latin typeface="DM Sans" pitchFamily="2" charset="77"/>
              </a:rPr>
              <a:t>Surveilen</a:t>
            </a:r>
            <a:r>
              <a:rPr lang="en-US" sz="1600" dirty="0">
                <a:latin typeface="DM Sans" pitchFamily="2" charset="77"/>
              </a:rPr>
              <a:t> </a:t>
            </a:r>
            <a:r>
              <a:rPr lang="en-US" sz="1600" dirty="0" err="1">
                <a:latin typeface="DM Sans" pitchFamily="2" charset="77"/>
              </a:rPr>
              <a:t>terjadwal</a:t>
            </a:r>
            <a:r>
              <a:rPr lang="en-US" sz="1600" dirty="0">
                <a:latin typeface="DM Sans" pitchFamily="2" charset="77"/>
              </a:rPr>
              <a:t>; dan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600" dirty="0" err="1">
                <a:latin typeface="DM Sans" pitchFamily="2" charset="77"/>
              </a:rPr>
              <a:t>Surveilen</a:t>
            </a:r>
            <a:r>
              <a:rPr lang="en-US" sz="1600" dirty="0">
                <a:latin typeface="DM Sans" pitchFamily="2" charset="77"/>
              </a:rPr>
              <a:t> </a:t>
            </a:r>
            <a:r>
              <a:rPr lang="en-US" sz="1600" dirty="0" err="1">
                <a:latin typeface="DM Sans" pitchFamily="2" charset="77"/>
              </a:rPr>
              <a:t>tidak</a:t>
            </a:r>
            <a:r>
              <a:rPr lang="en-US" sz="1600" dirty="0">
                <a:latin typeface="DM Sans" pitchFamily="2" charset="77"/>
              </a:rPr>
              <a:t> </a:t>
            </a:r>
            <a:r>
              <a:rPr lang="en-US" sz="1600" dirty="0" err="1">
                <a:latin typeface="DM Sans" pitchFamily="2" charset="77"/>
              </a:rPr>
              <a:t>terjadwal</a:t>
            </a:r>
            <a:r>
              <a:rPr lang="en-US" sz="1600" dirty="0">
                <a:latin typeface="DM Sans" pitchFamily="2" charset="77"/>
              </a:rPr>
              <a:t>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E73B1D0-3C7B-473F-386B-E1005BC82BEC}"/>
              </a:ext>
            </a:extLst>
          </p:cNvPr>
          <p:cNvSpPr txBox="1"/>
          <p:nvPr/>
        </p:nvSpPr>
        <p:spPr>
          <a:xfrm>
            <a:off x="596348" y="2893799"/>
            <a:ext cx="5499652" cy="3166824"/>
          </a:xfrm>
          <a:prstGeom prst="roundRect">
            <a:avLst/>
          </a:prstGeom>
          <a:solidFill>
            <a:srgbClr val="174A90"/>
          </a:solidFill>
        </p:spPr>
        <p:txBody>
          <a:bodyPr wrap="square">
            <a:spAutoFit/>
          </a:bodyPr>
          <a:lstStyle/>
          <a:p>
            <a:r>
              <a:rPr lang="en-US" sz="1500" b="1" dirty="0" err="1">
                <a:solidFill>
                  <a:schemeClr val="bg1"/>
                </a:solidFill>
                <a:latin typeface="DM Sans" pitchFamily="2" charset="77"/>
              </a:rPr>
              <a:t>Dilakukan</a:t>
            </a:r>
            <a:r>
              <a:rPr lang="en-US" sz="1500" b="1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b="1" dirty="0" err="1">
                <a:solidFill>
                  <a:schemeClr val="bg1"/>
                </a:solidFill>
                <a:latin typeface="DM Sans" pitchFamily="2" charset="77"/>
              </a:rPr>
              <a:t>secara</a:t>
            </a:r>
            <a:r>
              <a:rPr lang="en-US" sz="1500" b="1" dirty="0">
                <a:solidFill>
                  <a:schemeClr val="bg1"/>
                </a:solidFill>
                <a:latin typeface="DM Sans" pitchFamily="2" charset="77"/>
              </a:rPr>
              <a:t> rutin </a:t>
            </a:r>
            <a:r>
              <a:rPr lang="en-US" sz="1500" b="1" dirty="0" err="1">
                <a:solidFill>
                  <a:schemeClr val="bg1"/>
                </a:solidFill>
                <a:latin typeface="DM Sans" pitchFamily="2" charset="77"/>
              </a:rPr>
              <a:t>setiap</a:t>
            </a:r>
            <a:r>
              <a:rPr lang="en-US" sz="1500" b="1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b="1" dirty="0" err="1">
                <a:solidFill>
                  <a:schemeClr val="bg1"/>
                </a:solidFill>
                <a:latin typeface="DM Sans" pitchFamily="2" charset="77"/>
              </a:rPr>
              <a:t>tahun</a:t>
            </a:r>
            <a:r>
              <a:rPr lang="en-US" sz="1500" b="1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b="1" dirty="0" err="1">
                <a:solidFill>
                  <a:schemeClr val="bg1"/>
                </a:solidFill>
                <a:latin typeface="DM Sans" pitchFamily="2" charset="77"/>
              </a:rPr>
              <a:t>selama</a:t>
            </a:r>
            <a:r>
              <a:rPr lang="en-US" sz="1500" b="1" dirty="0">
                <a:solidFill>
                  <a:schemeClr val="bg1"/>
                </a:solidFill>
                <a:latin typeface="DM Sans" pitchFamily="2" charset="77"/>
              </a:rPr>
              <a:t> masa </a:t>
            </a:r>
            <a:r>
              <a:rPr lang="en-US" sz="1500" b="1" dirty="0" err="1">
                <a:solidFill>
                  <a:schemeClr val="bg1"/>
                </a:solidFill>
                <a:latin typeface="DM Sans" pitchFamily="2" charset="77"/>
              </a:rPr>
              <a:t>berlaku</a:t>
            </a:r>
            <a:r>
              <a:rPr lang="en-US" sz="1500" b="1" dirty="0">
                <a:solidFill>
                  <a:schemeClr val="bg1"/>
                </a:solidFill>
                <a:latin typeface="DM Sans" pitchFamily="2" charset="77"/>
              </a:rPr>
              <a:t> SBU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melalui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2 (dua)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jenis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kegiat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:</a:t>
            </a:r>
          </a:p>
          <a:p>
            <a:pPr marL="342900" indent="-342900">
              <a:buAutoNum type="alphaLcPeriod"/>
            </a:pP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Penyebar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kuisioner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kepada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seluruh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BUJK (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sensus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)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pemegang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SBU</a:t>
            </a:r>
          </a:p>
          <a:p>
            <a:pPr marL="342900" indent="-342900">
              <a:buAutoNum type="alphaLcPeriod"/>
            </a:pP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Pemantau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berdasark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data dan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informasi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dari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SIJK,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terkait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deng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lapor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kegiat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(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kinerja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) BUJK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tahun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dan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pencatat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(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registrasi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)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pengalam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pekerja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, dan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dari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sumber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informasi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lain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terkait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deng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proses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pemenuh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persyarata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sertifikasi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(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surat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</a:t>
            </a:r>
            <a:r>
              <a:rPr lang="en-US" sz="1500" dirty="0" err="1">
                <a:solidFill>
                  <a:schemeClr val="bg1"/>
                </a:solidFill>
                <a:latin typeface="DM Sans" pitchFamily="2" charset="77"/>
              </a:rPr>
              <a:t>komitmen</a:t>
            </a:r>
            <a:r>
              <a:rPr lang="en-US" sz="1500" dirty="0">
                <a:solidFill>
                  <a:schemeClr val="bg1"/>
                </a:solidFill>
                <a:latin typeface="DM Sans" pitchFamily="2" charset="77"/>
              </a:rPr>
              <a:t> BUJK).</a:t>
            </a:r>
          </a:p>
          <a:p>
            <a:pPr marL="342900" indent="-342900">
              <a:buAutoNum type="alphaLcPeriod"/>
            </a:pPr>
            <a:endParaRPr lang="en-US" sz="1500" dirty="0">
              <a:solidFill>
                <a:schemeClr val="bg1"/>
              </a:solidFill>
              <a:latin typeface="DM Sans" pitchFamily="2" charset="77"/>
            </a:endParaRPr>
          </a:p>
          <a:p>
            <a:pPr marL="342900" indent="-342900">
              <a:buAutoNum type="alphaLcPeriod"/>
            </a:pPr>
            <a:endParaRPr lang="en-US" sz="1500" dirty="0">
              <a:solidFill>
                <a:schemeClr val="bg1"/>
              </a:solidFill>
              <a:latin typeface="DM Sans" pitchFamily="2" charset="7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7023E0C-896C-04DB-D034-1F8225AC5332}"/>
              </a:ext>
            </a:extLst>
          </p:cNvPr>
          <p:cNvSpPr txBox="1"/>
          <p:nvPr/>
        </p:nvSpPr>
        <p:spPr>
          <a:xfrm>
            <a:off x="6327913" y="2893799"/>
            <a:ext cx="5267739" cy="3166824"/>
          </a:xfrm>
          <a:prstGeom prst="roundRect">
            <a:avLst/>
          </a:prstGeom>
          <a:solidFill>
            <a:srgbClr val="FFC100"/>
          </a:solidFill>
        </p:spPr>
        <p:txBody>
          <a:bodyPr wrap="square">
            <a:spAutoFit/>
          </a:bodyPr>
          <a:lstStyle/>
          <a:p>
            <a:r>
              <a:rPr lang="en-US" sz="1500" b="1" dirty="0" err="1">
                <a:latin typeface="DM Sans" pitchFamily="2" charset="77"/>
              </a:rPr>
              <a:t>Dilakukan</a:t>
            </a:r>
            <a:r>
              <a:rPr lang="en-US" sz="1500" b="1" dirty="0">
                <a:latin typeface="DM Sans" pitchFamily="2" charset="77"/>
              </a:rPr>
              <a:t> </a:t>
            </a:r>
            <a:r>
              <a:rPr lang="en-US" sz="1500" b="1" dirty="0" err="1">
                <a:latin typeface="DM Sans" pitchFamily="2" charset="77"/>
              </a:rPr>
              <a:t>secara</a:t>
            </a:r>
            <a:r>
              <a:rPr lang="en-US" sz="1500" b="1" dirty="0">
                <a:latin typeface="DM Sans" pitchFamily="2" charset="77"/>
              </a:rPr>
              <a:t> </a:t>
            </a:r>
            <a:r>
              <a:rPr lang="en-US" sz="1500" b="1" dirty="0" err="1">
                <a:latin typeface="DM Sans" pitchFamily="2" charset="77"/>
              </a:rPr>
              <a:t>insidental</a:t>
            </a:r>
            <a:r>
              <a:rPr lang="en-US" sz="1500" dirty="0">
                <a:latin typeface="DM Sans" pitchFamily="2" charset="77"/>
              </a:rPr>
              <a:t>, dan </a:t>
            </a:r>
            <a:r>
              <a:rPr lang="en-US" sz="1500" dirty="0" err="1">
                <a:latin typeface="DM Sans" pitchFamily="2" charset="77"/>
              </a:rPr>
              <a:t>dapat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dilaksanakan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jika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terdapat</a:t>
            </a:r>
            <a:r>
              <a:rPr lang="en-US" sz="1500" dirty="0">
                <a:latin typeface="DM Sans" pitchFamily="2" charset="77"/>
              </a:rPr>
              <a:t>, </a:t>
            </a:r>
            <a:r>
              <a:rPr lang="en-US" sz="1500" dirty="0" err="1">
                <a:latin typeface="DM Sans" pitchFamily="2" charset="77"/>
              </a:rPr>
              <a:t>namun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tidak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terbatas</a:t>
            </a:r>
            <a:r>
              <a:rPr lang="en-US" sz="1500" dirty="0">
                <a:latin typeface="DM Sans" pitchFamily="2" charset="77"/>
              </a:rPr>
              <a:t> pada :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500" dirty="0" err="1">
                <a:latin typeface="DM Sans" pitchFamily="2" charset="77"/>
              </a:rPr>
              <a:t>Berdasarkan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hasil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surveilen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terjadwal</a:t>
            </a:r>
            <a:r>
              <a:rPr lang="en-US" sz="1500" dirty="0">
                <a:latin typeface="DM Sans" pitchFamily="2" charset="77"/>
              </a:rPr>
              <a:t>;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500" dirty="0" err="1">
                <a:latin typeface="DM Sans" pitchFamily="2" charset="77"/>
              </a:rPr>
              <a:t>Pengaduan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tertulis</a:t>
            </a:r>
            <a:r>
              <a:rPr lang="en-US" sz="1500" dirty="0">
                <a:latin typeface="DM Sans" pitchFamily="2" charset="77"/>
              </a:rPr>
              <a:t> yang </a:t>
            </a:r>
            <a:r>
              <a:rPr lang="en-US" sz="1500" dirty="0" err="1">
                <a:latin typeface="DM Sans" pitchFamily="2" charset="77"/>
              </a:rPr>
              <a:t>meragukan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kompetensi</a:t>
            </a:r>
            <a:r>
              <a:rPr lang="en-US" sz="1500" dirty="0">
                <a:latin typeface="DM Sans" pitchFamily="2" charset="77"/>
              </a:rPr>
              <a:t> BUJK;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500" dirty="0" err="1">
                <a:latin typeface="DM Sans" pitchFamily="2" charset="77"/>
              </a:rPr>
              <a:t>Indikasi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bahwa</a:t>
            </a:r>
            <a:r>
              <a:rPr lang="en-US" sz="1500" dirty="0">
                <a:latin typeface="DM Sans" pitchFamily="2" charset="77"/>
              </a:rPr>
              <a:t> BUJK </a:t>
            </a:r>
            <a:r>
              <a:rPr lang="en-US" sz="1500" dirty="0" err="1">
                <a:latin typeface="DM Sans" pitchFamily="2" charset="77"/>
              </a:rPr>
              <a:t>tidak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lagi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memenuhi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persyaratan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sertifikasi</a:t>
            </a:r>
            <a:r>
              <a:rPr lang="en-US" sz="1500" dirty="0">
                <a:latin typeface="DM Sans" pitchFamily="2" charset="77"/>
              </a:rPr>
              <a:t>;</a:t>
            </a:r>
          </a:p>
          <a:p>
            <a:pPr marL="342900" indent="-342900">
              <a:buFont typeface="+mj-lt"/>
              <a:buAutoNum type="alphaLcPeriod"/>
            </a:pPr>
            <a:r>
              <a:rPr lang="en-US" sz="1500" dirty="0">
                <a:latin typeface="DM Sans" pitchFamily="2" charset="77"/>
              </a:rPr>
              <a:t>BUJK </a:t>
            </a:r>
            <a:r>
              <a:rPr lang="en-US" sz="1500" dirty="0" err="1">
                <a:latin typeface="DM Sans" pitchFamily="2" charset="77"/>
              </a:rPr>
              <a:t>tidak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memenuhi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perjanjian</a:t>
            </a:r>
            <a:r>
              <a:rPr lang="en-US" sz="1500" dirty="0">
                <a:latin typeface="DM Sans" pitchFamily="2" charset="77"/>
              </a:rPr>
              <a:t> </a:t>
            </a:r>
            <a:r>
              <a:rPr lang="en-US" sz="1500" dirty="0" err="1">
                <a:latin typeface="DM Sans" pitchFamily="2" charset="77"/>
              </a:rPr>
              <a:t>sertifikasi</a:t>
            </a:r>
            <a:r>
              <a:rPr lang="en-US" sz="1500" dirty="0">
                <a:latin typeface="DM Sans" pitchFamily="2" charset="77"/>
              </a:rPr>
              <a:t>.</a:t>
            </a:r>
          </a:p>
          <a:p>
            <a:endParaRPr lang="en-US" sz="1500" dirty="0">
              <a:latin typeface="DM Sans" pitchFamily="2" charset="77"/>
            </a:endParaRPr>
          </a:p>
          <a:p>
            <a:r>
              <a:rPr lang="en-US" sz="1500" b="1" dirty="0" err="1">
                <a:latin typeface="DM Sans" pitchFamily="2" charset="77"/>
              </a:rPr>
              <a:t>Pelaksanaan</a:t>
            </a:r>
            <a:r>
              <a:rPr lang="en-US" sz="1500" b="1" dirty="0">
                <a:latin typeface="DM Sans" pitchFamily="2" charset="77"/>
              </a:rPr>
              <a:t> </a:t>
            </a:r>
            <a:r>
              <a:rPr lang="en-US" sz="1500" b="1" dirty="0" err="1">
                <a:latin typeface="DM Sans" pitchFamily="2" charset="77"/>
              </a:rPr>
              <a:t>surveilen</a:t>
            </a:r>
            <a:r>
              <a:rPr lang="en-US" sz="1500" b="1" dirty="0">
                <a:latin typeface="DM Sans" pitchFamily="2" charset="77"/>
              </a:rPr>
              <a:t> </a:t>
            </a:r>
            <a:r>
              <a:rPr lang="en-US" sz="1500" b="1" dirty="0" err="1">
                <a:latin typeface="DM Sans" pitchFamily="2" charset="77"/>
              </a:rPr>
              <a:t>tidak</a:t>
            </a:r>
            <a:r>
              <a:rPr lang="en-US" sz="1500" b="1" dirty="0">
                <a:latin typeface="DM Sans" pitchFamily="2" charset="77"/>
              </a:rPr>
              <a:t> </a:t>
            </a:r>
            <a:r>
              <a:rPr lang="en-US" sz="1500" b="1" dirty="0" err="1">
                <a:latin typeface="DM Sans" pitchFamily="2" charset="77"/>
              </a:rPr>
              <a:t>terjadwal</a:t>
            </a:r>
            <a:r>
              <a:rPr lang="en-US" sz="1500" b="1" dirty="0">
                <a:latin typeface="DM Sans" pitchFamily="2" charset="77"/>
              </a:rPr>
              <a:t> </a:t>
            </a:r>
            <a:r>
              <a:rPr lang="en-US" sz="1500" b="1" dirty="0" err="1">
                <a:latin typeface="DM Sans" pitchFamily="2" charset="77"/>
              </a:rPr>
              <a:t>dapat</a:t>
            </a:r>
            <a:r>
              <a:rPr lang="en-US" sz="1500" b="1" dirty="0">
                <a:latin typeface="DM Sans" pitchFamily="2" charset="77"/>
              </a:rPr>
              <a:t> </a:t>
            </a:r>
            <a:r>
              <a:rPr lang="en-US" sz="1500" b="1" dirty="0" err="1">
                <a:latin typeface="DM Sans" pitchFamily="2" charset="77"/>
              </a:rPr>
              <a:t>dilakukan</a:t>
            </a:r>
            <a:r>
              <a:rPr lang="en-US" sz="1500" b="1" dirty="0">
                <a:latin typeface="DM Sans" pitchFamily="2" charset="77"/>
              </a:rPr>
              <a:t> </a:t>
            </a:r>
            <a:r>
              <a:rPr lang="en-US" sz="1500" b="1" dirty="0" err="1">
                <a:latin typeface="DM Sans" pitchFamily="2" charset="77"/>
              </a:rPr>
              <a:t>dengan</a:t>
            </a:r>
            <a:r>
              <a:rPr lang="en-US" sz="1500" b="1" dirty="0">
                <a:latin typeface="DM Sans" pitchFamily="2" charset="77"/>
              </a:rPr>
              <a:t> </a:t>
            </a:r>
            <a:r>
              <a:rPr lang="en-US" sz="1500" b="1" dirty="0" err="1">
                <a:latin typeface="DM Sans" pitchFamily="2" charset="77"/>
              </a:rPr>
              <a:t>atau</a:t>
            </a:r>
            <a:r>
              <a:rPr lang="en-US" sz="1500" b="1" dirty="0">
                <a:latin typeface="DM Sans" pitchFamily="2" charset="77"/>
              </a:rPr>
              <a:t> </a:t>
            </a:r>
            <a:r>
              <a:rPr lang="en-US" sz="1500" b="1" dirty="0" err="1">
                <a:latin typeface="DM Sans" pitchFamily="2" charset="77"/>
              </a:rPr>
              <a:t>tanpa</a:t>
            </a:r>
            <a:r>
              <a:rPr lang="en-US" sz="1500" b="1" dirty="0">
                <a:latin typeface="DM Sans" pitchFamily="2" charset="77"/>
              </a:rPr>
              <a:t> </a:t>
            </a:r>
            <a:r>
              <a:rPr lang="en-US" sz="1500" b="1" dirty="0" err="1">
                <a:latin typeface="DM Sans" pitchFamily="2" charset="77"/>
              </a:rPr>
              <a:t>pemberitahuan</a:t>
            </a:r>
            <a:r>
              <a:rPr lang="en-US" sz="1500" b="1" dirty="0">
                <a:latin typeface="DM Sans" pitchFamily="2" charset="77"/>
              </a:rPr>
              <a:t> </a:t>
            </a:r>
            <a:r>
              <a:rPr lang="en-US" sz="1500" b="1" dirty="0" err="1">
                <a:latin typeface="DM Sans" pitchFamily="2" charset="77"/>
              </a:rPr>
              <a:t>terlebih</a:t>
            </a:r>
            <a:r>
              <a:rPr lang="en-US" sz="1500" b="1" dirty="0">
                <a:latin typeface="DM Sans" pitchFamily="2" charset="77"/>
              </a:rPr>
              <a:t> </a:t>
            </a:r>
            <a:r>
              <a:rPr lang="en-US" sz="1500" b="1" dirty="0" err="1">
                <a:latin typeface="DM Sans" pitchFamily="2" charset="77"/>
              </a:rPr>
              <a:t>dahulu</a:t>
            </a:r>
            <a:r>
              <a:rPr lang="en-US" sz="1500" b="1" dirty="0">
                <a:latin typeface="DM Sans" pitchFamily="2" charset="77"/>
              </a:rPr>
              <a:t> </a:t>
            </a:r>
            <a:r>
              <a:rPr lang="en-US" sz="1500" b="1" dirty="0" err="1">
                <a:latin typeface="DM Sans" pitchFamily="2" charset="77"/>
              </a:rPr>
              <a:t>kepada</a:t>
            </a:r>
            <a:r>
              <a:rPr lang="en-US" sz="1500" b="1" dirty="0">
                <a:latin typeface="DM Sans" pitchFamily="2" charset="77"/>
              </a:rPr>
              <a:t> BUJK</a:t>
            </a:r>
            <a:r>
              <a:rPr lang="en-US" sz="1500" dirty="0">
                <a:latin typeface="DM Sans" pitchFamily="2" charset="77"/>
              </a:rPr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32A8C3-9F5C-7C10-DAEC-3785C14C45DE}"/>
              </a:ext>
            </a:extLst>
          </p:cNvPr>
          <p:cNvSpPr txBox="1"/>
          <p:nvPr/>
        </p:nvSpPr>
        <p:spPr>
          <a:xfrm>
            <a:off x="2259979" y="2540714"/>
            <a:ext cx="21723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i="1" dirty="0" err="1">
                <a:latin typeface="DM Sans" pitchFamily="2" charset="77"/>
              </a:rPr>
              <a:t>Surveilen</a:t>
            </a:r>
            <a:r>
              <a:rPr lang="en-US" sz="1600" b="1" i="1" dirty="0">
                <a:latin typeface="DM Sans" pitchFamily="2" charset="77"/>
              </a:rPr>
              <a:t> </a:t>
            </a:r>
            <a:r>
              <a:rPr lang="en-US" sz="1600" b="1" i="1" dirty="0" err="1">
                <a:latin typeface="DM Sans" pitchFamily="2" charset="77"/>
              </a:rPr>
              <a:t>Terjadwal</a:t>
            </a:r>
            <a:r>
              <a:rPr lang="en-US" sz="1600" b="1" i="1" dirty="0">
                <a:latin typeface="DM Sans" pitchFamily="2" charset="77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4C0E648-0743-17A7-5918-D35FD617ECDD}"/>
              </a:ext>
            </a:extLst>
          </p:cNvPr>
          <p:cNvSpPr txBox="1"/>
          <p:nvPr/>
        </p:nvSpPr>
        <p:spPr>
          <a:xfrm>
            <a:off x="7579031" y="2514674"/>
            <a:ext cx="27655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i="1" dirty="0" err="1">
                <a:latin typeface="DM Sans" pitchFamily="2" charset="77"/>
              </a:rPr>
              <a:t>Surveilen</a:t>
            </a:r>
            <a:r>
              <a:rPr lang="en-US" sz="1600" b="1" i="1" dirty="0">
                <a:latin typeface="DM Sans" pitchFamily="2" charset="77"/>
              </a:rPr>
              <a:t> </a:t>
            </a:r>
            <a:r>
              <a:rPr lang="en-US" sz="1600" b="1" i="1" dirty="0" err="1">
                <a:latin typeface="DM Sans" pitchFamily="2" charset="77"/>
              </a:rPr>
              <a:t>Tidak</a:t>
            </a:r>
            <a:r>
              <a:rPr lang="en-US" sz="1600" b="1" i="1" dirty="0">
                <a:latin typeface="DM Sans" pitchFamily="2" charset="77"/>
              </a:rPr>
              <a:t> </a:t>
            </a:r>
            <a:r>
              <a:rPr lang="en-US" sz="1600" b="1" i="1" dirty="0" err="1">
                <a:latin typeface="DM Sans" pitchFamily="2" charset="77"/>
              </a:rPr>
              <a:t>Terjadwal</a:t>
            </a:r>
            <a:r>
              <a:rPr lang="en-US" sz="1600" b="1" i="1" dirty="0">
                <a:latin typeface="DM Sans" pitchFamily="2" charset="77"/>
              </a:rPr>
              <a:t> </a:t>
            </a:r>
          </a:p>
        </p:txBody>
      </p:sp>
      <p:sp>
        <p:nvSpPr>
          <p:cNvPr id="10" name="Round Same Side Corner Rectangle 1">
            <a:extLst>
              <a:ext uri="{FF2B5EF4-FFF2-40B4-BE49-F238E27FC236}">
                <a16:creationId xmlns:a16="http://schemas.microsoft.com/office/drawing/2014/main" id="{C7AAA633-EBA5-9D61-D1BD-185D428E821E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B0708CE-3411-9E1F-17C8-3EA24E83551F}"/>
              </a:ext>
            </a:extLst>
          </p:cNvPr>
          <p:cNvSpPr txBox="1">
            <a:spLocks/>
          </p:cNvSpPr>
          <p:nvPr/>
        </p:nvSpPr>
        <p:spPr>
          <a:xfrm>
            <a:off x="176914" y="169726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400" b="1" dirty="0">
                <a:solidFill>
                  <a:prstClr val="black"/>
                </a:solidFill>
                <a:latin typeface="Segoe UI"/>
              </a:rPr>
              <a:t>SURVEILEN BUJK OLEH LSBU</a:t>
            </a:r>
          </a:p>
          <a:p>
            <a:pPr>
              <a:lnSpc>
                <a:spcPct val="100000"/>
              </a:lnSpc>
              <a:defRPr/>
            </a:pPr>
            <a:r>
              <a:rPr lang="fi-FI" sz="1800" dirty="0">
                <a:solidFill>
                  <a:prstClr val="black"/>
                </a:solidFill>
                <a:latin typeface="Segoe UI"/>
              </a:rPr>
              <a:t>SK DIRJEN NOMOR 144/KPTS/DK/2022</a:t>
            </a:r>
          </a:p>
        </p:txBody>
      </p:sp>
      <p:pic>
        <p:nvPicPr>
          <p:cNvPr id="12" name="Picture 11" descr="lgo sigap.png">
            <a:extLst>
              <a:ext uri="{FF2B5EF4-FFF2-40B4-BE49-F238E27FC236}">
                <a16:creationId xmlns:a16="http://schemas.microsoft.com/office/drawing/2014/main" id="{8FE5A144-DB98-B94E-E0A5-7FE872FBE7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76454E-6CC3-8AD2-A7A7-39DBCFF31C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7F563A7B-FB93-74F0-B0A8-47D184A363C1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C015FB7C-8565-CB05-A0B2-1A6D14E7E92A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2B7F771D-3AA6-1D16-3622-0D6902196AA6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4F823C72-E5BE-1AF2-1417-4DB1C7D0E309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90B1CF72-4F5B-A34F-0142-118F1FD72A4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368661672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60F44A-8667-9727-9535-96242F9F13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132246A8-46CC-4D03-E5F3-5D8090F5606E}"/>
              </a:ext>
            </a:extLst>
          </p:cNvPr>
          <p:cNvSpPr/>
          <p:nvPr/>
        </p:nvSpPr>
        <p:spPr>
          <a:xfrm rot="5400000">
            <a:off x="1166349" y="452435"/>
            <a:ext cx="4264530" cy="6586957"/>
          </a:xfrm>
          <a:prstGeom prst="round2SameRect">
            <a:avLst>
              <a:gd name="adj1" fmla="val 21012"/>
              <a:gd name="adj2" fmla="val 0"/>
            </a:avLst>
          </a:prstGeom>
          <a:solidFill>
            <a:srgbClr val="174A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-4572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srgbClr val="1C3367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</a:endParaRPr>
          </a:p>
        </p:txBody>
      </p:sp>
      <p:pic>
        <p:nvPicPr>
          <p:cNvPr id="192" name="Picture 191" descr="lgo sigap.png">
            <a:extLst>
              <a:ext uri="{FF2B5EF4-FFF2-40B4-BE49-F238E27FC236}">
                <a16:creationId xmlns:a16="http://schemas.microsoft.com/office/drawing/2014/main" id="{9F44043F-1BAA-A689-B6BC-21FA6B1DD3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196" name="Round Same Side Corner Rectangle 1">
            <a:extLst>
              <a:ext uri="{FF2B5EF4-FFF2-40B4-BE49-F238E27FC236}">
                <a16:creationId xmlns:a16="http://schemas.microsoft.com/office/drawing/2014/main" id="{7A5111B2-20D4-35DA-3681-04A67C3F078F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7" name="Title 1">
            <a:extLst>
              <a:ext uri="{FF2B5EF4-FFF2-40B4-BE49-F238E27FC236}">
                <a16:creationId xmlns:a16="http://schemas.microsoft.com/office/drawing/2014/main" id="{BC491239-F948-E803-16A0-DB1E52C2E398}"/>
              </a:ext>
            </a:extLst>
          </p:cNvPr>
          <p:cNvSpPr txBox="1">
            <a:spLocks/>
          </p:cNvSpPr>
          <p:nvPr/>
        </p:nvSpPr>
        <p:spPr>
          <a:xfrm>
            <a:off x="176914" y="169726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400" b="1" dirty="0">
                <a:solidFill>
                  <a:prstClr val="black"/>
                </a:solidFill>
                <a:latin typeface="Segoe UI"/>
              </a:rPr>
              <a:t>RELAKSASI SERTIFIKASI KOMPETENSI</a:t>
            </a:r>
          </a:p>
          <a:p>
            <a:pPr>
              <a:lnSpc>
                <a:spcPct val="100000"/>
              </a:lnSpc>
              <a:defRPr/>
            </a:pPr>
            <a:r>
              <a:rPr lang="fi-FI" sz="2400" b="1" dirty="0">
                <a:solidFill>
                  <a:prstClr val="black"/>
                </a:solidFill>
                <a:latin typeface="Segoe UI"/>
              </a:rPr>
              <a:t>KERJA KONSTRUKSI UNTUK JABATAN KERJA BELUM ADA</a:t>
            </a:r>
          </a:p>
          <a:p>
            <a:pPr>
              <a:lnSpc>
                <a:spcPct val="100000"/>
              </a:lnSpc>
              <a:defRPr/>
            </a:pPr>
            <a:r>
              <a:rPr lang="fi-FI" sz="2400" b="1" dirty="0">
                <a:solidFill>
                  <a:prstClr val="black"/>
                </a:solidFill>
                <a:latin typeface="Segoe UI"/>
              </a:rPr>
              <a:t>LSP PENGAMPU (MELALUI SE 214)</a:t>
            </a:r>
          </a:p>
          <a:p>
            <a:pPr>
              <a:lnSpc>
                <a:spcPct val="100000"/>
              </a:lnSpc>
              <a:defRPr/>
            </a:pPr>
            <a:endParaRPr lang="fi-FI" sz="2400" b="1" dirty="0">
              <a:solidFill>
                <a:prstClr val="black"/>
              </a:solidFill>
              <a:latin typeface="Segoe UI"/>
            </a:endParaRPr>
          </a:p>
          <a:p>
            <a:pPr>
              <a:lnSpc>
                <a:spcPct val="100000"/>
              </a:lnSpc>
              <a:defRPr/>
            </a:pPr>
            <a:endParaRPr lang="fi-FI" sz="2400" b="1" dirty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9566BF3-DFB9-726B-297E-ED0817A8CD3B}"/>
              </a:ext>
            </a:extLst>
          </p:cNvPr>
          <p:cNvSpPr txBox="1"/>
          <p:nvPr/>
        </p:nvSpPr>
        <p:spPr>
          <a:xfrm>
            <a:off x="176914" y="2583510"/>
            <a:ext cx="6208198" cy="34163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lam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l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nitia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knis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uji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mpetens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an LSP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ihak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tama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lum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pat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roperas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nyelenggaraan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rtifikas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mpetens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rja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yang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njad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wenangan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nitia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knis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uji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mpetens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an LSP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ihak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tama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selenggarakan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oleh Menteri.</a:t>
            </a:r>
          </a:p>
          <a:p>
            <a:pPr marL="342900" indent="-342900">
              <a:buFont typeface="+mj-lt"/>
              <a:buAutoNum type="arabicPeriod"/>
            </a:pPr>
            <a:endParaRPr lang="en-US" dirty="0">
              <a:solidFill>
                <a:schemeClr val="bg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ta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ra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laksanaan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rtifikas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mpetens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rja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bagaimana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maksud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ada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yat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2)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tetapkan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oleh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impinan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unit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rganisas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yang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mbidang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Jasa </a:t>
            </a:r>
            <a:r>
              <a:rPr lang="en-US" dirty="0" err="1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r>
              <a:rPr lang="en-US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342900" indent="-342900">
              <a:buFont typeface="+mj-lt"/>
              <a:buAutoNum type="arabicPeriod"/>
            </a:pPr>
            <a:endParaRPr lang="en-US" dirty="0" err="1">
              <a:solidFill>
                <a:schemeClr val="bg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C40007-82C7-1D18-6D68-F593F2B0FC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EC46E580-C410-2DC9-1B7E-9C5C382CF840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5C593DF1-80C9-DC3F-8025-473D127667F5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D6FE818-D4DB-207F-44D5-34FDB2346A3E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A246D09B-E78E-A547-EBBD-30C515F0E936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9C83645-F521-1267-0A3B-F215BA95ED1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A5240923-81DE-AC67-1D1D-B1FCFB621A03}"/>
              </a:ext>
            </a:extLst>
          </p:cNvPr>
          <p:cNvSpPr/>
          <p:nvPr/>
        </p:nvSpPr>
        <p:spPr>
          <a:xfrm flipH="1">
            <a:off x="200118" y="1813654"/>
            <a:ext cx="6586958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en-ID" sz="2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men</a:t>
            </a:r>
            <a:r>
              <a:rPr lang="en-ID" sz="2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UPR No. 8 </a:t>
            </a:r>
            <a:r>
              <a:rPr lang="en-ID" sz="2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hun</a:t>
            </a:r>
            <a:r>
              <a:rPr lang="en-ID" sz="2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022</a:t>
            </a:r>
          </a:p>
          <a:p>
            <a:pPr lvl="0">
              <a:defRPr/>
            </a:pPr>
            <a:r>
              <a:rPr lang="en-ID" sz="2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sal 25 Ayat 2 dan 3</a:t>
            </a:r>
          </a:p>
          <a:p>
            <a:pPr lvl="0">
              <a:defRPr/>
            </a:pPr>
            <a:endParaRPr lang="en-ID" sz="2000" b="1" dirty="0" err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Persegi Panjang: Sudut Lengkung 6">
            <a:extLst>
              <a:ext uri="{FF2B5EF4-FFF2-40B4-BE49-F238E27FC236}">
                <a16:creationId xmlns:a16="http://schemas.microsoft.com/office/drawing/2014/main" id="{E546F705-C78D-A5D9-0B3D-F93D876804BB}"/>
              </a:ext>
            </a:extLst>
          </p:cNvPr>
          <p:cNvSpPr/>
          <p:nvPr/>
        </p:nvSpPr>
        <p:spPr>
          <a:xfrm>
            <a:off x="7765796" y="1880938"/>
            <a:ext cx="3353052" cy="1405144"/>
          </a:xfrm>
          <a:prstGeom prst="roundRect">
            <a:avLst/>
          </a:prstGeom>
          <a:solidFill>
            <a:srgbClr val="FFC10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463">
              <a:solidFill>
                <a:srgbClr val="4472C4">
                  <a:lumMod val="75000"/>
                </a:srgbClr>
              </a:solidFill>
              <a:latin typeface="Calibri" panose="020F0502020204030204"/>
            </a:endParaRPr>
          </a:p>
        </p:txBody>
      </p:sp>
      <p:sp>
        <p:nvSpPr>
          <p:cNvPr id="15" name="Kotak Teks 1">
            <a:extLst>
              <a:ext uri="{FF2B5EF4-FFF2-40B4-BE49-F238E27FC236}">
                <a16:creationId xmlns:a16="http://schemas.microsoft.com/office/drawing/2014/main" id="{3D617798-51EC-D630-165D-FE557D18AAF6}"/>
              </a:ext>
            </a:extLst>
          </p:cNvPr>
          <p:cNvSpPr txBox="1"/>
          <p:nvPr/>
        </p:nvSpPr>
        <p:spPr>
          <a:xfrm>
            <a:off x="7639423" y="2058368"/>
            <a:ext cx="36057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DM Sans" pitchFamily="2" charset="77"/>
                <a:ea typeface="Roboto" charset="0"/>
                <a:cs typeface="Roboto" charset="0"/>
              </a:rPr>
              <a:t>JABATAN KERJA</a:t>
            </a:r>
          </a:p>
          <a:p>
            <a:pPr algn="ctr"/>
            <a:r>
              <a:rPr lang="en-US" sz="2000" b="1" dirty="0">
                <a:latin typeface="DM Sans" pitchFamily="2" charset="77"/>
                <a:ea typeface="Roboto" charset="0"/>
                <a:cs typeface="Roboto" charset="0"/>
              </a:rPr>
              <a:t>BELUM ADA PENGAMPU/ </a:t>
            </a:r>
          </a:p>
          <a:p>
            <a:pPr algn="ctr"/>
            <a:r>
              <a:rPr lang="en-US" sz="2000" b="1" dirty="0">
                <a:latin typeface="DM Sans" pitchFamily="2" charset="77"/>
                <a:ea typeface="Roboto" charset="0"/>
                <a:cs typeface="Roboto" charset="0"/>
              </a:rPr>
              <a:t>LSP BELUM BEROPERASI</a:t>
            </a:r>
            <a:endParaRPr lang="id-ID" sz="2000" b="1" dirty="0">
              <a:latin typeface="DM Sans" pitchFamily="2" charset="77"/>
              <a:ea typeface="Roboto" charset="0"/>
              <a:cs typeface="Roboto" charset="0"/>
            </a:endParaRPr>
          </a:p>
        </p:txBody>
      </p:sp>
      <p:sp>
        <p:nvSpPr>
          <p:cNvPr id="16" name="Panah: Bawah 2">
            <a:extLst>
              <a:ext uri="{FF2B5EF4-FFF2-40B4-BE49-F238E27FC236}">
                <a16:creationId xmlns:a16="http://schemas.microsoft.com/office/drawing/2014/main" id="{B4699433-9681-557A-9F9B-0C0FB2541E1B}"/>
              </a:ext>
            </a:extLst>
          </p:cNvPr>
          <p:cNvSpPr/>
          <p:nvPr/>
        </p:nvSpPr>
        <p:spPr>
          <a:xfrm>
            <a:off x="9197969" y="3227361"/>
            <a:ext cx="493254" cy="1075294"/>
          </a:xfrm>
          <a:prstGeom prst="downArrow">
            <a:avLst/>
          </a:prstGeom>
          <a:solidFill>
            <a:srgbClr val="FFC100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463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Kotak Teks 3">
            <a:extLst>
              <a:ext uri="{FF2B5EF4-FFF2-40B4-BE49-F238E27FC236}">
                <a16:creationId xmlns:a16="http://schemas.microsoft.com/office/drawing/2014/main" id="{280A89E4-CA02-A953-A604-9F157C7E58F8}"/>
              </a:ext>
            </a:extLst>
          </p:cNvPr>
          <p:cNvSpPr txBox="1"/>
          <p:nvPr/>
        </p:nvSpPr>
        <p:spPr>
          <a:xfrm>
            <a:off x="6862066" y="4430095"/>
            <a:ext cx="51605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u="sng" dirty="0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SE DJBK NOMOR 214/SE/Dk/2022</a:t>
            </a:r>
          </a:p>
          <a:p>
            <a:pPr algn="ctr"/>
            <a:r>
              <a:rPr lang="en-US" sz="1600" dirty="0" err="1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Tentang</a:t>
            </a:r>
            <a:r>
              <a:rPr lang="en-US" sz="1600" dirty="0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 Tata Cara </a:t>
            </a:r>
            <a:r>
              <a:rPr lang="en-US" sz="1600" dirty="0" err="1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Pelaksanaan</a:t>
            </a:r>
            <a:r>
              <a:rPr lang="en-US" sz="1600" dirty="0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Sertifikasi</a:t>
            </a:r>
            <a:r>
              <a:rPr lang="en-US" sz="1600" dirty="0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Kompetensi</a:t>
            </a:r>
            <a:r>
              <a:rPr lang="en-US" sz="1600" dirty="0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Kerja</a:t>
            </a:r>
            <a:r>
              <a:rPr lang="en-US" sz="1600" dirty="0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Konstruksi</a:t>
            </a:r>
            <a:r>
              <a:rPr lang="en-US" sz="1600" dirty="0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Untuk</a:t>
            </a:r>
            <a:r>
              <a:rPr lang="en-US" sz="1600" dirty="0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 </a:t>
            </a:r>
            <a:r>
              <a:rPr lang="en-US" sz="1600" b="1" dirty="0" err="1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Jabatan</a:t>
            </a:r>
            <a:r>
              <a:rPr lang="en-US" sz="1600" b="1" dirty="0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 </a:t>
            </a:r>
            <a:r>
              <a:rPr lang="en-US" sz="1600" b="1" dirty="0" err="1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Kerja</a:t>
            </a:r>
            <a:r>
              <a:rPr lang="en-US" sz="1600" b="1" dirty="0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 yang Belum </a:t>
            </a:r>
            <a:r>
              <a:rPr lang="en-US" sz="1600" b="1" dirty="0" err="1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Dapat</a:t>
            </a:r>
            <a:r>
              <a:rPr lang="en-US" sz="1600" b="1" dirty="0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 </a:t>
            </a:r>
            <a:r>
              <a:rPr lang="en-US" sz="1600" b="1" dirty="0" err="1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Dilaksanakan</a:t>
            </a:r>
            <a:r>
              <a:rPr lang="en-US" sz="1600" b="1" dirty="0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 </a:t>
            </a:r>
            <a:r>
              <a:rPr lang="en-US" sz="1600" dirty="0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oleh Lembaga </a:t>
            </a:r>
            <a:r>
              <a:rPr lang="en-US" sz="1600" dirty="0" err="1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Sertifikasi</a:t>
            </a:r>
            <a:r>
              <a:rPr lang="en-US" sz="1600" dirty="0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Profesi</a:t>
            </a:r>
            <a:r>
              <a:rPr lang="en-US" sz="1600" dirty="0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 dan/</a:t>
            </a:r>
            <a:r>
              <a:rPr lang="en-US" sz="1600" dirty="0" err="1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atau</a:t>
            </a:r>
            <a:r>
              <a:rPr lang="en-US" sz="1600" dirty="0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 Belum </a:t>
            </a:r>
            <a:r>
              <a:rPr lang="en-US" sz="1600" dirty="0" err="1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Terbentuknya</a:t>
            </a:r>
            <a:r>
              <a:rPr lang="en-US" sz="1600" dirty="0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Panitia</a:t>
            </a:r>
            <a:r>
              <a:rPr lang="en-US" sz="1600" dirty="0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 Teknis Uji </a:t>
            </a:r>
            <a:r>
              <a:rPr lang="en-US" sz="1600" dirty="0" err="1">
                <a:solidFill>
                  <a:prstClr val="black"/>
                </a:solidFill>
                <a:latin typeface="DM Sans" pitchFamily="2" charset="77"/>
                <a:ea typeface="Roboto" charset="0"/>
                <a:cs typeface="Roboto" charset="0"/>
              </a:rPr>
              <a:t>Kompetensi</a:t>
            </a:r>
            <a:endParaRPr lang="id-ID" sz="1600" dirty="0">
              <a:solidFill>
                <a:prstClr val="black"/>
              </a:solidFill>
              <a:latin typeface="DM Sans" pitchFamily="2" charset="77"/>
              <a:ea typeface="Roboto" charset="0"/>
              <a:cs typeface="Robot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056662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 2">
            <a:extLst>
              <a:ext uri="{FF2B5EF4-FFF2-40B4-BE49-F238E27FC236}">
                <a16:creationId xmlns:a16="http://schemas.microsoft.com/office/drawing/2014/main" id="{91C191A7-CD92-D5E0-7DB1-AD315BFD233C}"/>
              </a:ext>
            </a:extLst>
          </p:cNvPr>
          <p:cNvGraphicFramePr>
            <a:graphicFrameLocks noGrp="1"/>
          </p:cNvGraphicFramePr>
          <p:nvPr/>
        </p:nvGraphicFramePr>
        <p:xfrm>
          <a:off x="176914" y="2675932"/>
          <a:ext cx="11897639" cy="36823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3243">
                  <a:extLst>
                    <a:ext uri="{9D8B030D-6E8A-4147-A177-3AD203B41FA5}">
                      <a16:colId xmlns:a16="http://schemas.microsoft.com/office/drawing/2014/main" val="4104296874"/>
                    </a:ext>
                  </a:extLst>
                </a:gridCol>
                <a:gridCol w="2623029">
                  <a:extLst>
                    <a:ext uri="{9D8B030D-6E8A-4147-A177-3AD203B41FA5}">
                      <a16:colId xmlns:a16="http://schemas.microsoft.com/office/drawing/2014/main" val="1779179036"/>
                    </a:ext>
                  </a:extLst>
                </a:gridCol>
                <a:gridCol w="1214783">
                  <a:extLst>
                    <a:ext uri="{9D8B030D-6E8A-4147-A177-3AD203B41FA5}">
                      <a16:colId xmlns:a16="http://schemas.microsoft.com/office/drawing/2014/main" val="821333056"/>
                    </a:ext>
                  </a:extLst>
                </a:gridCol>
                <a:gridCol w="1274042">
                  <a:extLst>
                    <a:ext uri="{9D8B030D-6E8A-4147-A177-3AD203B41FA5}">
                      <a16:colId xmlns:a16="http://schemas.microsoft.com/office/drawing/2014/main" val="2608165492"/>
                    </a:ext>
                  </a:extLst>
                </a:gridCol>
                <a:gridCol w="1836991">
                  <a:extLst>
                    <a:ext uri="{9D8B030D-6E8A-4147-A177-3AD203B41FA5}">
                      <a16:colId xmlns:a16="http://schemas.microsoft.com/office/drawing/2014/main" val="2486079721"/>
                    </a:ext>
                  </a:extLst>
                </a:gridCol>
                <a:gridCol w="1229599">
                  <a:extLst>
                    <a:ext uri="{9D8B030D-6E8A-4147-A177-3AD203B41FA5}">
                      <a16:colId xmlns:a16="http://schemas.microsoft.com/office/drawing/2014/main" val="409091027"/>
                    </a:ext>
                  </a:extLst>
                </a:gridCol>
                <a:gridCol w="1537976">
                  <a:extLst>
                    <a:ext uri="{9D8B030D-6E8A-4147-A177-3AD203B41FA5}">
                      <a16:colId xmlns:a16="http://schemas.microsoft.com/office/drawing/2014/main" val="3279456457"/>
                    </a:ext>
                  </a:extLst>
                </a:gridCol>
                <a:gridCol w="1537976">
                  <a:extLst>
                    <a:ext uri="{9D8B030D-6E8A-4147-A177-3AD203B41FA5}">
                      <a16:colId xmlns:a16="http://schemas.microsoft.com/office/drawing/2014/main" val="3754412666"/>
                    </a:ext>
                  </a:extLst>
                </a:gridCol>
              </a:tblGrid>
              <a:tr h="467306"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b="1" u="none" strike="noStrike" dirty="0">
                          <a:solidFill>
                            <a:schemeClr val="bg1"/>
                          </a:solidFill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NO</a:t>
                      </a:r>
                      <a:endParaRPr lang="id-ID" sz="1600" b="1" i="0" u="none" strike="noStrike" dirty="0">
                        <a:solidFill>
                          <a:schemeClr val="bg1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b="1" u="none" strike="noStrike" dirty="0">
                          <a:solidFill>
                            <a:schemeClr val="bg1"/>
                          </a:solidFill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KLASIFIKASI</a:t>
                      </a:r>
                      <a:endParaRPr lang="id-ID" sz="1600" b="1" i="0" u="none" strike="noStrike" dirty="0">
                        <a:solidFill>
                          <a:schemeClr val="bg1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b="1" u="none" strike="noStrike" dirty="0">
                          <a:solidFill>
                            <a:schemeClr val="bg1"/>
                          </a:solidFill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AHLI</a:t>
                      </a:r>
                      <a:endParaRPr lang="id-ID" sz="1600" b="1" i="0" u="none" strike="noStrike" dirty="0">
                        <a:solidFill>
                          <a:schemeClr val="bg1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b="1" u="none" strike="noStrike" dirty="0">
                          <a:solidFill>
                            <a:schemeClr val="bg1"/>
                          </a:solidFill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TERAMPIL</a:t>
                      </a:r>
                      <a:endParaRPr lang="id-ID" sz="1600" b="1" i="0" u="none" strike="noStrike" dirty="0">
                        <a:solidFill>
                          <a:schemeClr val="bg1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b="1" u="none" strike="noStrike" dirty="0">
                          <a:solidFill>
                            <a:schemeClr val="bg1"/>
                          </a:solidFill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FRESHGRADUATE</a:t>
                      </a:r>
                      <a:endParaRPr lang="id-ID" sz="1600" b="1" i="0" u="none" strike="noStrike" dirty="0">
                        <a:solidFill>
                          <a:schemeClr val="bg1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b="1" u="none" strike="noStrike" dirty="0">
                          <a:solidFill>
                            <a:schemeClr val="bg1"/>
                          </a:solidFill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IKN AHLI</a:t>
                      </a:r>
                      <a:endParaRPr lang="id-ID" sz="1600" b="1" i="0" u="none" strike="noStrike" dirty="0">
                        <a:solidFill>
                          <a:schemeClr val="bg1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b="1" u="none" strike="noStrike" dirty="0">
                          <a:solidFill>
                            <a:schemeClr val="bg1"/>
                          </a:solidFill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IKN TERAMPIL</a:t>
                      </a:r>
                      <a:endParaRPr lang="id-ID" sz="1600" b="1" i="0" u="none" strike="noStrike" dirty="0">
                        <a:solidFill>
                          <a:schemeClr val="bg1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PRIORITAS</a:t>
                      </a:r>
                      <a:endParaRPr lang="id-ID" sz="1600" b="1" i="0" u="none" strike="noStrike" dirty="0">
                        <a:solidFill>
                          <a:schemeClr val="bg1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1354412"/>
                  </a:ext>
                </a:extLst>
              </a:tr>
              <a:tr h="335487"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1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ARSITEKTUR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4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31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3</a:t>
                      </a:r>
                      <a:endParaRPr lang="id-ID" sz="1600" b="0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 </a:t>
                      </a:r>
                      <a:endParaRPr lang="id-ID" sz="1600" b="0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 </a:t>
                      </a:r>
                      <a:endParaRPr lang="id-ID" sz="1600" b="0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1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3890013"/>
                  </a:ext>
                </a:extLst>
              </a:tr>
              <a:tr h="335487"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2</a:t>
                      </a:r>
                      <a:endParaRPr lang="id-ID" sz="1600" b="0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SIPIL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4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56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5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2</a:t>
                      </a:r>
                      <a:endParaRPr lang="id-ID" sz="1600" b="0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 </a:t>
                      </a:r>
                      <a:endParaRPr lang="id-ID" sz="1600" b="0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2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3938326642"/>
                  </a:ext>
                </a:extLst>
              </a:tr>
              <a:tr h="335487"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3</a:t>
                      </a:r>
                      <a:endParaRPr lang="id-ID" sz="1600" b="0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d-ID" sz="1600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MEKANIKAL</a:t>
                      </a:r>
                      <a:endParaRPr lang="id-ID" sz="1600" b="0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1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41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3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1</a:t>
                      </a:r>
                      <a:endParaRPr lang="id-ID" sz="1600" b="0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4</a:t>
                      </a:r>
                      <a:endParaRPr lang="id-ID" sz="1600" b="0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2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883172541"/>
                  </a:ext>
                </a:extLst>
              </a:tr>
              <a:tr h="335487"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4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TATA LINGKUNGAN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3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25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3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 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 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1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2253036"/>
                  </a:ext>
                </a:extLst>
              </a:tr>
              <a:tr h="335487"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5</a:t>
                      </a:r>
                      <a:endParaRPr lang="id-ID" sz="1600" b="0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d-ID" sz="1600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MANAJEMEN PELAKSANAAN</a:t>
                      </a:r>
                      <a:endParaRPr lang="id-ID" sz="1600" b="0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1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 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2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1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 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2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2759838986"/>
                  </a:ext>
                </a:extLst>
              </a:tr>
              <a:tr h="335487"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6</a:t>
                      </a:r>
                      <a:endParaRPr lang="id-ID" sz="1600" b="0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d-ID" sz="1600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LAIN-LAIN</a:t>
                      </a:r>
                      <a:endParaRPr lang="id-ID" sz="1600" b="0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 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8</a:t>
                      </a:r>
                      <a:endParaRPr lang="id-ID" sz="1600" b="0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 </a:t>
                      </a:r>
                      <a:endParaRPr lang="id-ID" sz="1600" b="0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 </a:t>
                      </a:r>
                      <a:endParaRPr lang="id-ID" sz="1600" b="0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1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2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1237514350"/>
                  </a:ext>
                </a:extLst>
              </a:tr>
              <a:tr h="335487"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7</a:t>
                      </a:r>
                      <a:endParaRPr lang="id-ID" sz="1600" b="0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d-ID" sz="1600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SAIN &amp; REKAYASA</a:t>
                      </a:r>
                      <a:endParaRPr lang="id-ID" sz="1600" b="0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 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 </a:t>
                      </a:r>
                      <a:endParaRPr lang="id-ID" sz="1600" b="0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 </a:t>
                      </a:r>
                      <a:endParaRPr lang="id-ID" sz="1600" b="0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1</a:t>
                      </a:r>
                      <a:endParaRPr lang="id-ID" sz="1600" b="0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3</a:t>
                      </a:r>
                      <a:endParaRPr lang="id-ID" sz="1600" b="0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2</a:t>
                      </a:r>
                      <a:endParaRPr lang="id-ID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26493766"/>
                  </a:ext>
                </a:extLst>
              </a:tr>
              <a:tr h="353393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id-ID" sz="1600" b="1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TOTAL</a:t>
                      </a:r>
                      <a:endParaRPr lang="id-ID" sz="1600" b="1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b="1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13</a:t>
                      </a:r>
                      <a:endParaRPr lang="id-ID" sz="1600" b="1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b="1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161</a:t>
                      </a:r>
                      <a:endParaRPr lang="id-ID" sz="1600" b="1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b="1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16</a:t>
                      </a:r>
                      <a:endParaRPr lang="id-ID" sz="1600" b="1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b="1" u="none" strike="noStrike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5</a:t>
                      </a:r>
                      <a:endParaRPr lang="id-ID" sz="1600" b="1" i="0" u="none" strike="noStrike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600" b="1" u="none" strike="noStrike" dirty="0"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8</a:t>
                      </a:r>
                      <a:endParaRPr lang="id-ID" sz="1600" b="1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b"/>
                      <a:endParaRPr lang="id-ID" sz="1600" b="1" i="0" u="none" strike="noStrike" dirty="0">
                        <a:solidFill>
                          <a:srgbClr val="000000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3329254724"/>
                  </a:ext>
                </a:extLst>
              </a:tr>
              <a:tr h="353393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MASA BERLAKU</a:t>
                      </a:r>
                      <a:endParaRPr lang="id-ID" sz="1600" b="1" i="0" u="none" strike="noStrike" dirty="0">
                        <a:solidFill>
                          <a:schemeClr val="bg1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3 TAHUN</a:t>
                      </a:r>
                      <a:endParaRPr lang="id-ID" sz="1600" b="1" i="0" u="none" strike="noStrike" dirty="0">
                        <a:solidFill>
                          <a:schemeClr val="bg1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3 TAHUN</a:t>
                      </a:r>
                      <a:endParaRPr lang="id-ID" sz="1600" b="1" i="0" u="none" strike="noStrike" dirty="0">
                        <a:solidFill>
                          <a:schemeClr val="bg1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1 TAHUN</a:t>
                      </a:r>
                      <a:endParaRPr lang="id-ID" sz="1600" b="1" i="0" u="none" strike="noStrike" dirty="0">
                        <a:solidFill>
                          <a:schemeClr val="bg1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3 TAHUN</a:t>
                      </a:r>
                      <a:endParaRPr lang="id-ID" sz="1600" b="1" i="0" u="none" strike="noStrike" dirty="0">
                        <a:solidFill>
                          <a:schemeClr val="bg1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Roboto" charset="0"/>
                          <a:ea typeface="Roboto" charset="0"/>
                          <a:cs typeface="Roboto" charset="0"/>
                        </a:rPr>
                        <a:t>3 TAHUN</a:t>
                      </a:r>
                      <a:endParaRPr lang="id-ID" sz="1600" b="1" i="0" u="none" strike="noStrike" dirty="0">
                        <a:solidFill>
                          <a:schemeClr val="bg1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d-ID" sz="1600" b="1" i="0" u="none" strike="noStrike" dirty="0">
                        <a:solidFill>
                          <a:schemeClr val="bg1"/>
                        </a:solidFill>
                        <a:effectLst/>
                        <a:latin typeface="Roboto" charset="0"/>
                        <a:ea typeface="Roboto" charset="0"/>
                        <a:cs typeface="Roboto" charset="0"/>
                      </a:endParaRPr>
                    </a:p>
                  </a:txBody>
                  <a:tcPr marL="7620" marR="7620" marT="7620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2057946"/>
                  </a:ext>
                </a:extLst>
              </a:tr>
            </a:tbl>
          </a:graphicData>
        </a:graphic>
      </p:graphicFrame>
      <p:sp>
        <p:nvSpPr>
          <p:cNvPr id="6" name="Kotak Teks 1">
            <a:extLst>
              <a:ext uri="{FF2B5EF4-FFF2-40B4-BE49-F238E27FC236}">
                <a16:creationId xmlns:a16="http://schemas.microsoft.com/office/drawing/2014/main" id="{E36C01F1-21B4-C1AB-F14A-D03F762DFCCE}"/>
              </a:ext>
            </a:extLst>
          </p:cNvPr>
          <p:cNvSpPr txBox="1"/>
          <p:nvPr/>
        </p:nvSpPr>
        <p:spPr>
          <a:xfrm>
            <a:off x="5287964" y="1147709"/>
            <a:ext cx="2105063" cy="369332"/>
          </a:xfrm>
          <a:prstGeom prst="rect">
            <a:avLst/>
          </a:prstGeom>
          <a:solidFill>
            <a:srgbClr val="174A90"/>
          </a:solidFill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KUALIFIKASI AHLI</a:t>
            </a:r>
            <a:endParaRPr kumimoji="0" lang="id-ID" sz="1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oboto" charset="0"/>
              <a:ea typeface="Roboto" charset="0"/>
              <a:cs typeface="Roboto" charset="0"/>
            </a:endParaRPr>
          </a:p>
        </p:txBody>
      </p:sp>
      <p:sp>
        <p:nvSpPr>
          <p:cNvPr id="7" name="Kotak Teks 3">
            <a:extLst>
              <a:ext uri="{FF2B5EF4-FFF2-40B4-BE49-F238E27FC236}">
                <a16:creationId xmlns:a16="http://schemas.microsoft.com/office/drawing/2014/main" id="{FEC00BAB-135A-D063-4DC4-0FA721CAB74B}"/>
              </a:ext>
            </a:extLst>
          </p:cNvPr>
          <p:cNvSpPr txBox="1"/>
          <p:nvPr/>
        </p:nvSpPr>
        <p:spPr>
          <a:xfrm>
            <a:off x="8520576" y="1122678"/>
            <a:ext cx="2712602" cy="369332"/>
          </a:xfrm>
          <a:prstGeom prst="rect">
            <a:avLst/>
          </a:prstGeom>
          <a:solidFill>
            <a:srgbClr val="174A90"/>
          </a:solidFill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KUALIFIKASI TERAMPIL</a:t>
            </a:r>
            <a:endParaRPr kumimoji="0" lang="id-ID" sz="1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oboto" charset="0"/>
              <a:ea typeface="Roboto" charset="0"/>
              <a:cs typeface="Roboto" charset="0"/>
            </a:endParaRPr>
          </a:p>
        </p:txBody>
      </p:sp>
      <p:sp>
        <p:nvSpPr>
          <p:cNvPr id="8" name="Kotak Teks 4">
            <a:extLst>
              <a:ext uri="{FF2B5EF4-FFF2-40B4-BE49-F238E27FC236}">
                <a16:creationId xmlns:a16="http://schemas.microsoft.com/office/drawing/2014/main" id="{85F9B42A-F108-4C3A-19E1-024AE018E9E6}"/>
              </a:ext>
            </a:extLst>
          </p:cNvPr>
          <p:cNvSpPr txBox="1"/>
          <p:nvPr/>
        </p:nvSpPr>
        <p:spPr>
          <a:xfrm>
            <a:off x="5553773" y="1554843"/>
            <a:ext cx="134363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174A90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Ahli Mud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174A90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Ahli Mady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174A90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Ahli Utama</a:t>
            </a:r>
            <a:endParaRPr kumimoji="0" lang="id-ID" sz="1800" i="0" u="none" strike="noStrike" kern="1200" cap="none" spc="0" normalizeH="0" baseline="0" noProof="0" dirty="0">
              <a:ln>
                <a:noFill/>
              </a:ln>
              <a:solidFill>
                <a:srgbClr val="174A90"/>
              </a:solidFill>
              <a:effectLst/>
              <a:uLnTx/>
              <a:uFillTx/>
              <a:latin typeface="Roboto" charset="0"/>
              <a:ea typeface="Roboto" charset="0"/>
              <a:cs typeface="Roboto" charset="0"/>
            </a:endParaRPr>
          </a:p>
        </p:txBody>
      </p:sp>
      <p:sp>
        <p:nvSpPr>
          <p:cNvPr id="9" name="Kotak Teks 5">
            <a:extLst>
              <a:ext uri="{FF2B5EF4-FFF2-40B4-BE49-F238E27FC236}">
                <a16:creationId xmlns:a16="http://schemas.microsoft.com/office/drawing/2014/main" id="{CE24CB5A-F356-EF01-ACF1-D2EBA94CB8F8}"/>
              </a:ext>
            </a:extLst>
          </p:cNvPr>
          <p:cNvSpPr txBox="1"/>
          <p:nvPr/>
        </p:nvSpPr>
        <p:spPr>
          <a:xfrm>
            <a:off x="9408056" y="1554843"/>
            <a:ext cx="94929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 err="1">
                <a:ln>
                  <a:noFill/>
                </a:ln>
                <a:solidFill>
                  <a:srgbClr val="174A90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Kelas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174A90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 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 err="1">
                <a:ln>
                  <a:noFill/>
                </a:ln>
                <a:solidFill>
                  <a:srgbClr val="174A90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Kelas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174A90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 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 err="1">
                <a:ln>
                  <a:noFill/>
                </a:ln>
                <a:solidFill>
                  <a:srgbClr val="174A90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Kelas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174A90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 1</a:t>
            </a:r>
            <a:endParaRPr kumimoji="0" lang="id-ID" sz="1800" i="0" u="none" strike="noStrike" kern="1200" cap="none" spc="0" normalizeH="0" baseline="0" noProof="0" dirty="0">
              <a:ln>
                <a:noFill/>
              </a:ln>
              <a:solidFill>
                <a:srgbClr val="174A90"/>
              </a:solidFill>
              <a:effectLst/>
              <a:uLnTx/>
              <a:uFillTx/>
              <a:latin typeface="Roboto" charset="0"/>
              <a:ea typeface="Roboto" charset="0"/>
              <a:cs typeface="Roboto" charset="0"/>
            </a:endParaRPr>
          </a:p>
        </p:txBody>
      </p:sp>
      <p:sp>
        <p:nvSpPr>
          <p:cNvPr id="10" name="Kotak Teks 6">
            <a:extLst>
              <a:ext uri="{FF2B5EF4-FFF2-40B4-BE49-F238E27FC236}">
                <a16:creationId xmlns:a16="http://schemas.microsoft.com/office/drawing/2014/main" id="{D3BF8C40-F7BA-D69A-55F6-0D484CE7BDA0}"/>
              </a:ext>
            </a:extLst>
          </p:cNvPr>
          <p:cNvSpPr txBox="1"/>
          <p:nvPr/>
        </p:nvSpPr>
        <p:spPr>
          <a:xfrm>
            <a:off x="1287646" y="1298712"/>
            <a:ext cx="1776448" cy="369332"/>
          </a:xfrm>
          <a:prstGeom prst="rect">
            <a:avLst/>
          </a:prstGeom>
          <a:solidFill>
            <a:srgbClr val="174A90"/>
          </a:solidFill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PERMOHONAN</a:t>
            </a:r>
            <a:endParaRPr kumimoji="0" lang="id-ID" sz="1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oboto" charset="0"/>
              <a:ea typeface="Roboto" charset="0"/>
              <a:cs typeface="Roboto" charset="0"/>
            </a:endParaRPr>
          </a:p>
        </p:txBody>
      </p:sp>
      <p:sp>
        <p:nvSpPr>
          <p:cNvPr id="11" name="Kotak Teks 7">
            <a:extLst>
              <a:ext uri="{FF2B5EF4-FFF2-40B4-BE49-F238E27FC236}">
                <a16:creationId xmlns:a16="http://schemas.microsoft.com/office/drawing/2014/main" id="{823010D6-1668-6E8D-87D7-4A9AE018A3AD}"/>
              </a:ext>
            </a:extLst>
          </p:cNvPr>
          <p:cNvSpPr txBox="1"/>
          <p:nvPr/>
        </p:nvSpPr>
        <p:spPr>
          <a:xfrm>
            <a:off x="1334935" y="1693343"/>
            <a:ext cx="168187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 err="1">
                <a:ln>
                  <a:noFill/>
                </a:ln>
                <a:solidFill>
                  <a:srgbClr val="174A90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Baru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srgbClr val="174A90"/>
              </a:solidFill>
              <a:effectLst/>
              <a:uLnTx/>
              <a:uFillTx/>
              <a:latin typeface="Roboto" charset="0"/>
              <a:ea typeface="Roboto" charset="0"/>
              <a:cs typeface="Roboto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 err="1">
                <a:ln>
                  <a:noFill/>
                </a:ln>
                <a:solidFill>
                  <a:srgbClr val="174A90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Perpanjangan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174A90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 </a:t>
            </a:r>
            <a:endParaRPr kumimoji="0" lang="id-ID" sz="1800" i="0" u="none" strike="noStrike" kern="1200" cap="none" spc="0" normalizeH="0" baseline="0" noProof="0" dirty="0">
              <a:ln>
                <a:noFill/>
              </a:ln>
              <a:solidFill>
                <a:srgbClr val="174A90"/>
              </a:solidFill>
              <a:effectLst/>
              <a:uLnTx/>
              <a:uFillTx/>
              <a:latin typeface="Roboto" charset="0"/>
              <a:ea typeface="Roboto" charset="0"/>
              <a:cs typeface="Roboto" charset="0"/>
            </a:endParaRPr>
          </a:p>
        </p:txBody>
      </p:sp>
      <p:sp>
        <p:nvSpPr>
          <p:cNvPr id="12" name="Kotak Teks 9">
            <a:extLst>
              <a:ext uri="{FF2B5EF4-FFF2-40B4-BE49-F238E27FC236}">
                <a16:creationId xmlns:a16="http://schemas.microsoft.com/office/drawing/2014/main" id="{AFC69B7B-B978-68EA-15AE-6B96D2737C6D}"/>
              </a:ext>
            </a:extLst>
          </p:cNvPr>
          <p:cNvSpPr txBox="1"/>
          <p:nvPr/>
        </p:nvSpPr>
        <p:spPr>
          <a:xfrm>
            <a:off x="176914" y="6439454"/>
            <a:ext cx="90444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Rinci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subklasifikas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sesua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 Lampiran SE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Dirje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 Bina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Konstruks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 No 214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Tahu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charset="0"/>
                <a:ea typeface="Roboto" charset="0"/>
                <a:cs typeface="Roboto" charset="0"/>
              </a:rPr>
              <a:t> 2022</a:t>
            </a:r>
            <a:endParaRPr kumimoji="0" lang="id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charset="0"/>
              <a:ea typeface="Roboto" charset="0"/>
              <a:cs typeface="Roboto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4A742D-DA4E-A584-30F8-D07DEB03A8D9}"/>
              </a:ext>
            </a:extLst>
          </p:cNvPr>
          <p:cNvCxnSpPr/>
          <p:nvPr/>
        </p:nvCxnSpPr>
        <p:spPr>
          <a:xfrm>
            <a:off x="7975600" y="1313543"/>
            <a:ext cx="0" cy="109644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21A0C8B-1D78-E194-3D80-BBD35F86DE3F}"/>
              </a:ext>
            </a:extLst>
          </p:cNvPr>
          <p:cNvCxnSpPr/>
          <p:nvPr/>
        </p:nvCxnSpPr>
        <p:spPr>
          <a:xfrm>
            <a:off x="4330700" y="1298712"/>
            <a:ext cx="0" cy="109644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lgo sigap.png">
            <a:extLst>
              <a:ext uri="{FF2B5EF4-FFF2-40B4-BE49-F238E27FC236}">
                <a16:creationId xmlns:a16="http://schemas.microsoft.com/office/drawing/2014/main" id="{85AFA29A-90AD-0609-C008-74667F1201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17" name="Round Same Side Corner Rectangle 1">
            <a:extLst>
              <a:ext uri="{FF2B5EF4-FFF2-40B4-BE49-F238E27FC236}">
                <a16:creationId xmlns:a16="http://schemas.microsoft.com/office/drawing/2014/main" id="{216AAC9E-047A-60A6-2669-7BFBBE225710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8D8AB49A-9CCB-9E17-C63C-AE6A4A37846A}"/>
              </a:ext>
            </a:extLst>
          </p:cNvPr>
          <p:cNvSpPr txBox="1">
            <a:spLocks/>
          </p:cNvSpPr>
          <p:nvPr/>
        </p:nvSpPr>
        <p:spPr>
          <a:xfrm>
            <a:off x="176914" y="169726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400" b="1" dirty="0">
                <a:solidFill>
                  <a:prstClr val="black"/>
                </a:solidFill>
                <a:latin typeface="Segoe UI"/>
              </a:rPr>
              <a:t>LAYANAN SERTIFIKASI KOMPETENSI KERJA UNTUK JABATAN KERJA BELUM ADA PENGAMPU</a:t>
            </a:r>
          </a:p>
        </p:txBody>
      </p:sp>
    </p:spTree>
    <p:extLst>
      <p:ext uri="{BB962C8B-B14F-4D97-AF65-F5344CB8AC3E}">
        <p14:creationId xmlns:p14="http://schemas.microsoft.com/office/powerpoint/2010/main" val="117653978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EDBF3FF-DDD8-4ED3-AF47-BDB52FB7AF90}"/>
              </a:ext>
            </a:extLst>
          </p:cNvPr>
          <p:cNvSpPr/>
          <p:nvPr/>
        </p:nvSpPr>
        <p:spPr>
          <a:xfrm>
            <a:off x="2030429" y="1020789"/>
            <a:ext cx="1428628" cy="605706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isiator</a:t>
            </a:r>
          </a:p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T; BUJK; LPPK; OPD</a:t>
            </a:r>
          </a:p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ses Reqruitment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1E0D411-9D85-4995-A539-A844AC06033A}"/>
              </a:ext>
            </a:extLst>
          </p:cNvPr>
          <p:cNvSpPr/>
          <p:nvPr/>
        </p:nvSpPr>
        <p:spPr>
          <a:xfrm>
            <a:off x="144572" y="1028761"/>
            <a:ext cx="1362742" cy="50081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mohon SKA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C3F400E-46E8-4F28-9F3D-8528279CAA6A}"/>
              </a:ext>
            </a:extLst>
          </p:cNvPr>
          <p:cNvSpPr/>
          <p:nvPr/>
        </p:nvSpPr>
        <p:spPr>
          <a:xfrm>
            <a:off x="70948" y="4362"/>
            <a:ext cx="8902105" cy="523220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lIns="91440" tIns="45720" rIns="91440" bIns="4572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1200" cap="none" spc="0" normalizeH="0" baseline="0" noProof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DM Sans" pitchFamily="2" charset="77"/>
              </a:rPr>
              <a:t>BISNIS PROSES </a:t>
            </a:r>
            <a:r>
              <a:rPr kumimoji="0" lang="en-ID" sz="1400" b="0" i="0" u="none" strike="noStrike" kern="1200" cap="none" spc="0" normalizeH="0" baseline="0" noProof="1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DM Sans" pitchFamily="2" charset="77"/>
              </a:rPr>
              <a:t>SERTIFIKAT KOMPETENSI AHLI (SKA) KONSTRUKSI </a:t>
            </a:r>
            <a:r>
              <a:rPr kumimoji="0" lang="en-ID" sz="1400" b="0" i="0" u="none" strike="noStrike" kern="1200" cap="none" spc="0" normalizeH="0" baseline="0" noProof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DM Sans" pitchFamily="2" charset="77"/>
              </a:rPr>
              <a:t>DAN PEMBAYARAN NON PENGAMP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1200" cap="none" spc="0" normalizeH="0" baseline="0" noProof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DM Sans" pitchFamily="2" charset="77"/>
              </a:rPr>
              <a:t>(SESUAI SE DIRJEN BINA KONSTRUKSI NOMOR 214/SE/Dk/2022)</a:t>
            </a:r>
          </a:p>
        </p:txBody>
      </p:sp>
      <p:sp>
        <p:nvSpPr>
          <p:cNvPr id="148" name="Freeform: Shape 147">
            <a:extLst>
              <a:ext uri="{FF2B5EF4-FFF2-40B4-BE49-F238E27FC236}">
                <a16:creationId xmlns:a16="http://schemas.microsoft.com/office/drawing/2014/main" id="{098F249A-7227-4735-810A-AC0079F03C6C}"/>
              </a:ext>
            </a:extLst>
          </p:cNvPr>
          <p:cNvSpPr/>
          <p:nvPr/>
        </p:nvSpPr>
        <p:spPr>
          <a:xfrm>
            <a:off x="4100764" y="1041655"/>
            <a:ext cx="1476778" cy="584840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8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osiasi Profesi Terakreditasi</a:t>
            </a:r>
          </a:p>
        </p:txBody>
      </p:sp>
      <p:sp>
        <p:nvSpPr>
          <p:cNvPr id="165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85410" y="1559883"/>
            <a:ext cx="2212154" cy="1413269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sng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yampaian data Pemohon Baru dan Perpanjangan ke SIKI LPJK: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TP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PWP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to 3x4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wayat Pendidikan (Ijazah sesuai program pendidikan)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ftar Pengalaman Kerja (Dari E-SIMPAN)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at Pernyataan Kebenaran Data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TA Asosiasi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lf Assesment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sng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sus Perpanjangan Sertifikat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tifikat Keahlian/SKA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menuhan Angka Kredit PKB (120 SKPK) / Maksimal 5 Executive Summary</a:t>
            </a:r>
          </a:p>
        </p:txBody>
      </p:sp>
      <p:sp>
        <p:nvSpPr>
          <p:cNvPr id="169" name="Tampungan Konten 2">
            <a:extLst>
              <a:ext uri="{FF2B5EF4-FFF2-40B4-BE49-F238E27FC236}">
                <a16:creationId xmlns:a16="http://schemas.microsoft.com/office/drawing/2014/main" id="{C6C7DF09-8782-4919-97BC-85779B9000E7}"/>
              </a:ext>
            </a:extLst>
          </p:cNvPr>
          <p:cNvSpPr txBox="1">
            <a:spLocks/>
          </p:cNvSpPr>
          <p:nvPr/>
        </p:nvSpPr>
        <p:spPr>
          <a:xfrm>
            <a:off x="4944484" y="1676355"/>
            <a:ext cx="2035013" cy="99035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ifikasi dan Validasi termasuk pemenuhan angka kredit PKB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andatangani BA hasil VV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gunggah Data yang sudah di VV ke siki.pu.go.id</a:t>
            </a:r>
          </a:p>
        </p:txBody>
      </p:sp>
      <p:sp>
        <p:nvSpPr>
          <p:cNvPr id="102" name="Freeform: Shape 53">
            <a:extLst>
              <a:ext uri="{FF2B5EF4-FFF2-40B4-BE49-F238E27FC236}">
                <a16:creationId xmlns:a16="http://schemas.microsoft.com/office/drawing/2014/main" id="{077B2236-5959-4BDA-9787-6089087E831D}"/>
              </a:ext>
            </a:extLst>
          </p:cNvPr>
          <p:cNvSpPr/>
          <p:nvPr/>
        </p:nvSpPr>
        <p:spPr>
          <a:xfrm>
            <a:off x="7898810" y="1060628"/>
            <a:ext cx="1476778" cy="504735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bg1">
              <a:lumMod val="85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kretariat Tim Penyelenggara Sertifikasi</a:t>
            </a:r>
          </a:p>
        </p:txBody>
      </p:sp>
      <p:sp>
        <p:nvSpPr>
          <p:cNvPr id="114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4491290" y="1676355"/>
            <a:ext cx="687818" cy="188188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6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8256628" y="825809"/>
            <a:ext cx="687818" cy="188188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0</a:t>
            </a:r>
          </a:p>
        </p:txBody>
      </p:sp>
      <p:sp>
        <p:nvSpPr>
          <p:cNvPr id="27" name="Diamond 26"/>
          <p:cNvSpPr/>
          <p:nvPr/>
        </p:nvSpPr>
        <p:spPr>
          <a:xfrm>
            <a:off x="10434414" y="991100"/>
            <a:ext cx="1053641" cy="635395"/>
          </a:xfrm>
          <a:prstGeom prst="diamond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0608971" y="1156059"/>
            <a:ext cx="6174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ngkap</a:t>
            </a:r>
            <a:endParaRPr kumimoji="0" lang="id-ID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1" name="Freeform: Shape 53">
            <a:extLst>
              <a:ext uri="{FF2B5EF4-FFF2-40B4-BE49-F238E27FC236}">
                <a16:creationId xmlns:a16="http://schemas.microsoft.com/office/drawing/2014/main" id="{077B2236-5959-4BDA-9787-6089087E831D}"/>
              </a:ext>
            </a:extLst>
          </p:cNvPr>
          <p:cNvSpPr/>
          <p:nvPr/>
        </p:nvSpPr>
        <p:spPr>
          <a:xfrm>
            <a:off x="10222846" y="3579831"/>
            <a:ext cx="1476778" cy="504735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bg1">
              <a:lumMod val="85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 Pelaksana Penyelenggara Sertifikasi</a:t>
            </a:r>
          </a:p>
        </p:txBody>
      </p:sp>
      <p:sp>
        <p:nvSpPr>
          <p:cNvPr id="124" name="Freeform: Shape 53">
            <a:extLst>
              <a:ext uri="{FF2B5EF4-FFF2-40B4-BE49-F238E27FC236}">
                <a16:creationId xmlns:a16="http://schemas.microsoft.com/office/drawing/2014/main" id="{077B2236-5959-4BDA-9787-6089087E831D}"/>
              </a:ext>
            </a:extLst>
          </p:cNvPr>
          <p:cNvSpPr/>
          <p:nvPr/>
        </p:nvSpPr>
        <p:spPr>
          <a:xfrm>
            <a:off x="7930034" y="3575940"/>
            <a:ext cx="1476778" cy="504735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bg1">
              <a:lumMod val="85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esor Kompetensi</a:t>
            </a:r>
          </a:p>
        </p:txBody>
      </p:sp>
      <p:sp>
        <p:nvSpPr>
          <p:cNvPr id="128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8973053" y="5069358"/>
            <a:ext cx="2543648" cy="363444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3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9835426" y="4200539"/>
            <a:ext cx="2360629" cy="1769245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unjukan Asesor (2 orang Askom untuk permohonan baru, dan 1 orang Askom untuk permohonan perpanjangan)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jadwalan Uji Kompetensi dan Survey 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K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fimasi kepada Asesor terkait penyiapan MUK ;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etapkan TUK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etapkan Metode Pelaksanaan Uji </a:t>
            </a:r>
            <a:r>
              <a:rPr kumimoji="0" lang="en-ID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tensi : dalam jaringan/luar jaringan/hybrid/ onsite</a:t>
            </a: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D" sz="800" b="1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D" sz="800" b="1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34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7770810" y="4185293"/>
            <a:ext cx="1852751" cy="884065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laksanaan Uji Kompetensi (metode </a:t>
            </a:r>
            <a:r>
              <a:rPr kumimoji="0" lang="en-ID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ji Kompetensi : Portofolio, Wawancara, Uji Tertulis, Uji Lisan, dan Verifikasi Pihak ke 3)</a:t>
            </a: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yampaikan rekomendasi asesor terhadap hasil asesmen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8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2914889" y="2807411"/>
            <a:ext cx="311463" cy="211875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K</a:t>
            </a:r>
          </a:p>
        </p:txBody>
      </p:sp>
      <p:sp>
        <p:nvSpPr>
          <p:cNvPr id="143" name="Freeform: Shape 53">
            <a:extLst>
              <a:ext uri="{FF2B5EF4-FFF2-40B4-BE49-F238E27FC236}">
                <a16:creationId xmlns:a16="http://schemas.microsoft.com/office/drawing/2014/main" id="{077B2236-5959-4BDA-9787-6089087E831D}"/>
              </a:ext>
            </a:extLst>
          </p:cNvPr>
          <p:cNvSpPr/>
          <p:nvPr/>
        </p:nvSpPr>
        <p:spPr>
          <a:xfrm>
            <a:off x="5847119" y="3561939"/>
            <a:ext cx="1476778" cy="504735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bg1">
              <a:lumMod val="85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 Pelaksana Penyelenggara Sertifikasi</a:t>
            </a:r>
          </a:p>
        </p:txBody>
      </p:sp>
      <p:sp>
        <p:nvSpPr>
          <p:cNvPr id="144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5771315" y="4125710"/>
            <a:ext cx="1716231" cy="1123925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mbuat dan menyampaikan daftar pembayaran biaya sertifikasi 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biaya Honorarium asesor dan/atau transportasi dan akomodasi asesor) 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pada inisiator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erima bukti pembayaran sesuai perjanjian kerjasama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laksana membuat Berita acara hasil uji kompetensi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4" name="Freeform: Shape 53">
            <a:extLst>
              <a:ext uri="{FF2B5EF4-FFF2-40B4-BE49-F238E27FC236}">
                <a16:creationId xmlns:a16="http://schemas.microsoft.com/office/drawing/2014/main" id="{077B2236-5959-4BDA-9787-6089087E831D}"/>
              </a:ext>
            </a:extLst>
          </p:cNvPr>
          <p:cNvSpPr/>
          <p:nvPr/>
        </p:nvSpPr>
        <p:spPr>
          <a:xfrm>
            <a:off x="3962324" y="3609750"/>
            <a:ext cx="1476778" cy="504735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bg1">
              <a:lumMod val="85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 Pengarah/Pengurus</a:t>
            </a:r>
          </a:p>
        </p:txBody>
      </p:sp>
      <p:sp>
        <p:nvSpPr>
          <p:cNvPr id="168" name="Freeform: Shape 53">
            <a:extLst>
              <a:ext uri="{FF2B5EF4-FFF2-40B4-BE49-F238E27FC236}">
                <a16:creationId xmlns:a16="http://schemas.microsoft.com/office/drawing/2014/main" id="{077B2236-5959-4BDA-9787-6089087E831D}"/>
              </a:ext>
            </a:extLst>
          </p:cNvPr>
          <p:cNvSpPr/>
          <p:nvPr/>
        </p:nvSpPr>
        <p:spPr>
          <a:xfrm>
            <a:off x="119264" y="3601856"/>
            <a:ext cx="1476778" cy="504735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bg1">
              <a:lumMod val="85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tua LPJK</a:t>
            </a:r>
          </a:p>
        </p:txBody>
      </p:sp>
      <p:sp>
        <p:nvSpPr>
          <p:cNvPr id="182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3841971" y="4116754"/>
            <a:ext cx="1572891" cy="51752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pat penetapan hasil uji kompetensi (2 hari kerja)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etapan Hasil Uji Kompetensi</a:t>
            </a:r>
          </a:p>
        </p:txBody>
      </p:sp>
      <p:cxnSp>
        <p:nvCxnSpPr>
          <p:cNvPr id="68" name="Elbow Connector 67"/>
          <p:cNvCxnSpPr>
            <a:stCxn id="27" idx="0"/>
          </p:cNvCxnSpPr>
          <p:nvPr/>
        </p:nvCxnSpPr>
        <p:spPr>
          <a:xfrm rot="16200000" flipH="1" flipV="1">
            <a:off x="7874701" y="-2044880"/>
            <a:ext cx="50554" cy="6122514"/>
          </a:xfrm>
          <a:prstGeom prst="bentConnector4">
            <a:avLst>
              <a:gd name="adj1" fmla="val -452190"/>
              <a:gd name="adj2" fmla="val 100041"/>
            </a:avLst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Arrow Connector 136"/>
          <p:cNvCxnSpPr>
            <a:stCxn id="27" idx="2"/>
          </p:cNvCxnSpPr>
          <p:nvPr/>
        </p:nvCxnSpPr>
        <p:spPr>
          <a:xfrm flipH="1">
            <a:off x="10961234" y="1626495"/>
            <a:ext cx="1" cy="1935444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Arrow Connector 156"/>
          <p:cNvCxnSpPr>
            <a:stCxn id="13" idx="3"/>
          </p:cNvCxnSpPr>
          <p:nvPr/>
        </p:nvCxnSpPr>
        <p:spPr>
          <a:xfrm flipV="1">
            <a:off x="1507314" y="1274082"/>
            <a:ext cx="498733" cy="50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Arrow Connector 185"/>
          <p:cNvCxnSpPr/>
          <p:nvPr/>
        </p:nvCxnSpPr>
        <p:spPr>
          <a:xfrm>
            <a:off x="3434675" y="1323642"/>
            <a:ext cx="64170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Arrow Connector 187"/>
          <p:cNvCxnSpPr/>
          <p:nvPr/>
        </p:nvCxnSpPr>
        <p:spPr>
          <a:xfrm>
            <a:off x="5553160" y="1323104"/>
            <a:ext cx="2321268" cy="6458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Arrow Connector 189"/>
          <p:cNvCxnSpPr>
            <a:endCxn id="27" idx="1"/>
          </p:cNvCxnSpPr>
          <p:nvPr/>
        </p:nvCxnSpPr>
        <p:spPr>
          <a:xfrm flipV="1">
            <a:off x="9375588" y="1308798"/>
            <a:ext cx="1058826" cy="14306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Arrow Connector 191"/>
          <p:cNvCxnSpPr/>
          <p:nvPr/>
        </p:nvCxnSpPr>
        <p:spPr>
          <a:xfrm flipH="1">
            <a:off x="9382430" y="3803130"/>
            <a:ext cx="816034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Arrow Connector 195"/>
          <p:cNvCxnSpPr>
            <a:stCxn id="194" idx="0"/>
          </p:cNvCxnSpPr>
          <p:nvPr/>
        </p:nvCxnSpPr>
        <p:spPr>
          <a:xfrm flipH="1" flipV="1">
            <a:off x="2849951" y="1626495"/>
            <a:ext cx="14148" cy="1900914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4063208" y="821699"/>
            <a:ext cx="687818" cy="188188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99</a:t>
            </a:r>
          </a:p>
        </p:txBody>
      </p:sp>
      <p:cxnSp>
        <p:nvCxnSpPr>
          <p:cNvPr id="204" name="Straight Arrow Connector 203"/>
          <p:cNvCxnSpPr/>
          <p:nvPr/>
        </p:nvCxnSpPr>
        <p:spPr>
          <a:xfrm flipH="1">
            <a:off x="5430617" y="3854223"/>
            <a:ext cx="411061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1997382" y="3556856"/>
            <a:ext cx="254225" cy="211875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</a:t>
            </a:r>
          </a:p>
        </p:txBody>
      </p:sp>
      <p:cxnSp>
        <p:nvCxnSpPr>
          <p:cNvPr id="207" name="Straight Arrow Connector 206"/>
          <p:cNvCxnSpPr/>
          <p:nvPr/>
        </p:nvCxnSpPr>
        <p:spPr>
          <a:xfrm flipH="1" flipV="1">
            <a:off x="1596042" y="3832199"/>
            <a:ext cx="825268" cy="1394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Straight Arrow Connector 208"/>
          <p:cNvCxnSpPr/>
          <p:nvPr/>
        </p:nvCxnSpPr>
        <p:spPr>
          <a:xfrm flipH="1">
            <a:off x="7287805" y="3803130"/>
            <a:ext cx="617847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Arrow Connector 210"/>
          <p:cNvCxnSpPr/>
          <p:nvPr/>
        </p:nvCxnSpPr>
        <p:spPr>
          <a:xfrm flipH="1">
            <a:off x="3303942" y="3854223"/>
            <a:ext cx="647177" cy="1579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2411865" y="3527409"/>
            <a:ext cx="904468" cy="657884"/>
            <a:chOff x="4309039" y="3489594"/>
            <a:chExt cx="1052101" cy="685210"/>
          </a:xfrm>
        </p:grpSpPr>
        <p:sp>
          <p:nvSpPr>
            <p:cNvPr id="194" name="Diamond 193"/>
            <p:cNvSpPr/>
            <p:nvPr/>
          </p:nvSpPr>
          <p:spPr>
            <a:xfrm>
              <a:off x="4309039" y="3489594"/>
              <a:ext cx="1052101" cy="685210"/>
            </a:xfrm>
            <a:prstGeom prst="diamond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Rectangle 220"/>
            <p:cNvSpPr/>
            <p:nvPr/>
          </p:nvSpPr>
          <p:spPr>
            <a:xfrm>
              <a:off x="4393676" y="3680875"/>
              <a:ext cx="849913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rita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cara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endParaRPr kumimoji="0" lang="id-ID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25" name="Freeform: Shape 53">
            <a:extLst>
              <a:ext uri="{FF2B5EF4-FFF2-40B4-BE49-F238E27FC236}">
                <a16:creationId xmlns:a16="http://schemas.microsoft.com/office/drawing/2014/main" id="{077B2236-5959-4BDA-9787-6089087E831D}"/>
              </a:ext>
            </a:extLst>
          </p:cNvPr>
          <p:cNvSpPr/>
          <p:nvPr/>
        </p:nvSpPr>
        <p:spPr>
          <a:xfrm>
            <a:off x="126292" y="4998712"/>
            <a:ext cx="1476778" cy="504735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bg1">
              <a:lumMod val="85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 Pelaksana dan Sekretariat Tim</a:t>
            </a:r>
          </a:p>
        </p:txBody>
      </p:sp>
      <p:cxnSp>
        <p:nvCxnSpPr>
          <p:cNvPr id="227" name="Straight Arrow Connector 226"/>
          <p:cNvCxnSpPr/>
          <p:nvPr/>
        </p:nvCxnSpPr>
        <p:spPr>
          <a:xfrm>
            <a:off x="809596" y="4106591"/>
            <a:ext cx="0" cy="893408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23721" y="5548092"/>
            <a:ext cx="1572891" cy="421694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erbitan dan Pengirirman SKA elektronik dengan masa berlaku 3 tahun  (1 hari kerja)</a:t>
            </a:r>
          </a:p>
        </p:txBody>
      </p:sp>
      <p:sp>
        <p:nvSpPr>
          <p:cNvPr id="231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10038" y="4769190"/>
            <a:ext cx="766901" cy="188188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4 &amp; 5</a:t>
            </a:r>
          </a:p>
        </p:txBody>
      </p:sp>
      <p:sp>
        <p:nvSpPr>
          <p:cNvPr id="232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4238791" y="3330606"/>
            <a:ext cx="687818" cy="188188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3</a:t>
            </a:r>
          </a:p>
        </p:txBody>
      </p:sp>
      <p:sp>
        <p:nvSpPr>
          <p:cNvPr id="233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8240170" y="3315771"/>
            <a:ext cx="766472" cy="176667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1 &amp; 2</a:t>
            </a:r>
          </a:p>
        </p:txBody>
      </p:sp>
      <p:sp>
        <p:nvSpPr>
          <p:cNvPr id="234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10213053" y="3298381"/>
            <a:ext cx="646076" cy="194057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1 </a:t>
            </a:r>
          </a:p>
        </p:txBody>
      </p:sp>
      <p:sp>
        <p:nvSpPr>
          <p:cNvPr id="236" name="Rectangle: Rounded Corners 12">
            <a:extLst>
              <a:ext uri="{FF2B5EF4-FFF2-40B4-BE49-F238E27FC236}">
                <a16:creationId xmlns:a16="http://schemas.microsoft.com/office/drawing/2014/main" id="{11E0D411-9D85-4995-A539-A844AC06033A}"/>
              </a:ext>
            </a:extLst>
          </p:cNvPr>
          <p:cNvSpPr/>
          <p:nvPr/>
        </p:nvSpPr>
        <p:spPr>
          <a:xfrm>
            <a:off x="2427398" y="5002630"/>
            <a:ext cx="1470689" cy="50081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mohon SKA</a:t>
            </a:r>
          </a:p>
        </p:txBody>
      </p:sp>
      <p:cxnSp>
        <p:nvCxnSpPr>
          <p:cNvPr id="238" name="Straight Arrow Connector 237"/>
          <p:cNvCxnSpPr>
            <a:endCxn id="236" idx="1"/>
          </p:cNvCxnSpPr>
          <p:nvPr/>
        </p:nvCxnSpPr>
        <p:spPr>
          <a:xfrm>
            <a:off x="1603070" y="5249636"/>
            <a:ext cx="824328" cy="34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9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2776248" y="4750974"/>
            <a:ext cx="766901" cy="188188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6</a:t>
            </a:r>
          </a:p>
        </p:txBody>
      </p:sp>
      <p:sp>
        <p:nvSpPr>
          <p:cNvPr id="240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2266220" y="5566915"/>
            <a:ext cx="1715450" cy="450055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mohon download sertifikat menggunakan </a:t>
            </a:r>
            <a:r>
              <a:rPr kumimoji="0" lang="en-US" sz="800" b="0" i="1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ername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an </a:t>
            </a:r>
            <a:r>
              <a:rPr kumimoji="0" lang="en-US" sz="800" b="0" i="1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ssword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yang telah diberikan</a:t>
            </a:r>
          </a:p>
        </p:txBody>
      </p:sp>
      <p:sp>
        <p:nvSpPr>
          <p:cNvPr id="60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7487547" y="457974"/>
            <a:ext cx="418106" cy="211875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dak</a:t>
            </a:r>
          </a:p>
        </p:txBody>
      </p:sp>
      <p:sp>
        <p:nvSpPr>
          <p:cNvPr id="61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10572442" y="1975585"/>
            <a:ext cx="322501" cy="211875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a</a:t>
            </a:r>
          </a:p>
        </p:txBody>
      </p:sp>
      <p:sp>
        <p:nvSpPr>
          <p:cNvPr id="63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8433520" y="1601929"/>
            <a:ext cx="1737484" cy="28071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lakukan pemeriksaan kelengkapan dokumen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mberikan tanda terima permohonan </a:t>
            </a:r>
          </a:p>
        </p:txBody>
      </p:sp>
      <p:sp>
        <p:nvSpPr>
          <p:cNvPr id="64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10970451" y="1694218"/>
            <a:ext cx="1276950" cy="59872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yampaikan hasil pemeriksaan sesuai Format VI angka 6.1.5 (2 Hari Kerja)</a:t>
            </a:r>
          </a:p>
        </p:txBody>
      </p:sp>
      <p:sp>
        <p:nvSpPr>
          <p:cNvPr id="69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2880962" y="3058024"/>
            <a:ext cx="2034249" cy="28071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975" marR="0" lvl="0" indent="-5397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at Pemberitahuan</a:t>
            </a:r>
          </a:p>
        </p:txBody>
      </p:sp>
      <p:sp>
        <p:nvSpPr>
          <p:cNvPr id="70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1673586" y="3892678"/>
            <a:ext cx="914620" cy="29454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975" marR="0" lvl="0" indent="-5397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etujuan Penerbitan dan Pencatatan</a:t>
            </a:r>
          </a:p>
        </p:txBody>
      </p:sp>
      <p:sp>
        <p:nvSpPr>
          <p:cNvPr id="71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772365" y="4127884"/>
            <a:ext cx="914620" cy="29454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975" marR="0" lvl="0" indent="-5397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etapkan nomor registrasi (1 hari kerja)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B9746E0-62D7-67D8-A6B5-3C51524D0216}"/>
              </a:ext>
            </a:extLst>
          </p:cNvPr>
          <p:cNvCxnSpPr>
            <a:cxnSpLocks/>
          </p:cNvCxnSpPr>
          <p:nvPr/>
        </p:nvCxnSpPr>
        <p:spPr>
          <a:xfrm flipH="1">
            <a:off x="3159698" y="2546699"/>
            <a:ext cx="5273822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D55F2E4B-487D-E60B-195D-130A3CCCA7E2}"/>
              </a:ext>
            </a:extLst>
          </p:cNvPr>
          <p:cNvCxnSpPr>
            <a:cxnSpLocks/>
          </p:cNvCxnSpPr>
          <p:nvPr/>
        </p:nvCxnSpPr>
        <p:spPr>
          <a:xfrm flipH="1" flipV="1">
            <a:off x="3159697" y="1665739"/>
            <a:ext cx="1" cy="88096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A146BA7D-DFD4-813F-E731-8C3C7DB43AE9}"/>
              </a:ext>
            </a:extLst>
          </p:cNvPr>
          <p:cNvSpPr txBox="1"/>
          <p:nvPr/>
        </p:nvSpPr>
        <p:spPr>
          <a:xfrm>
            <a:off x="2102993" y="562550"/>
            <a:ext cx="142683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janjian kerjasama antara inisiator dengan Tim Penyelenggara Sertifikas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C4C3194-A7C2-EC73-151C-3536C321CD41}"/>
              </a:ext>
            </a:extLst>
          </p:cNvPr>
          <p:cNvSpPr txBox="1"/>
          <p:nvPr/>
        </p:nvSpPr>
        <p:spPr>
          <a:xfrm>
            <a:off x="4140902" y="2585183"/>
            <a:ext cx="30671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firmasi ketersediaan TUK, jumlah dan jadwal kehadiran asesi, untuk pelaksanaan Uji Kompetensi</a:t>
            </a:r>
            <a:endParaRPr kumimoji="0" lang="en-ID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ampungan Konten 2">
            <a:extLst>
              <a:ext uri="{FF2B5EF4-FFF2-40B4-BE49-F238E27FC236}">
                <a16:creationId xmlns:a16="http://schemas.microsoft.com/office/drawing/2014/main" id="{3FAAB209-0AE4-D6B4-9885-960995ABFCDA}"/>
              </a:ext>
            </a:extLst>
          </p:cNvPr>
          <p:cNvSpPr txBox="1">
            <a:spLocks/>
          </p:cNvSpPr>
          <p:nvPr/>
        </p:nvSpPr>
        <p:spPr>
          <a:xfrm>
            <a:off x="10942085" y="2814958"/>
            <a:ext cx="1276950" cy="59872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K, Jumlah dan Jadwal asesi, terkonfirmasi</a:t>
            </a:r>
          </a:p>
        </p:txBody>
      </p:sp>
      <p:sp>
        <p:nvSpPr>
          <p:cNvPr id="65" name="Tampungan Konten 2">
            <a:extLst>
              <a:ext uri="{FF2B5EF4-FFF2-40B4-BE49-F238E27FC236}">
                <a16:creationId xmlns:a16="http://schemas.microsoft.com/office/drawing/2014/main" id="{06A13F58-7D15-49F8-B806-BB0E2F53157D}"/>
              </a:ext>
            </a:extLst>
          </p:cNvPr>
          <p:cNvSpPr txBox="1">
            <a:spLocks/>
          </p:cNvSpPr>
          <p:nvPr/>
        </p:nvSpPr>
        <p:spPr>
          <a:xfrm>
            <a:off x="3178847" y="1672276"/>
            <a:ext cx="1464273" cy="521712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9063" marR="0" lvl="0" indent="-1190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yiapkan TUK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Jumlah dan Jadwal Asesi</a:t>
            </a:r>
            <a:endParaRPr kumimoji="0" lang="en-US" sz="800" b="0" i="0" u="none" strike="sng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04F4DFAD-6009-4311-86D0-94966EF64EBC}"/>
              </a:ext>
            </a:extLst>
          </p:cNvPr>
          <p:cNvCxnSpPr>
            <a:cxnSpLocks/>
          </p:cNvCxnSpPr>
          <p:nvPr/>
        </p:nvCxnSpPr>
        <p:spPr>
          <a:xfrm flipV="1">
            <a:off x="8421642" y="1601929"/>
            <a:ext cx="0" cy="947806"/>
          </a:xfrm>
          <a:prstGeom prst="straightConnector1">
            <a:avLst/>
          </a:prstGeom>
          <a:ln>
            <a:solidFill>
              <a:srgbClr val="FF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go sigap.png">
            <a:extLst>
              <a:ext uri="{FF2B5EF4-FFF2-40B4-BE49-F238E27FC236}">
                <a16:creationId xmlns:a16="http://schemas.microsoft.com/office/drawing/2014/main" id="{0878A805-7DD2-C84B-ADD6-4EE4DAE297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934AD8C-2FFC-89C4-6A53-2155467CC0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6C1B0C7-BCB9-6DDA-092E-F6FE95BB5F88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693DE49-D337-F314-841B-19D3DF7DBB91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53384F8E-4784-5D44-C6C3-EA0EEE8B77C2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D4CD2DA-F1F1-126F-2047-CAF93C6EBB99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1740AC86-AB0B-53D2-91E4-B735871DADF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545640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EDBF3FF-DDD8-4ED3-AF47-BDB52FB7AF90}"/>
              </a:ext>
            </a:extLst>
          </p:cNvPr>
          <p:cNvSpPr/>
          <p:nvPr/>
        </p:nvSpPr>
        <p:spPr>
          <a:xfrm>
            <a:off x="2030428" y="1020789"/>
            <a:ext cx="3307025" cy="605706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isiator</a:t>
            </a:r>
          </a:p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PPK (Lembaga Pendidikan); BUJK; OPD</a:t>
            </a:r>
          </a:p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ses Reqruitment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1E0D411-9D85-4995-A539-A844AC06033A}"/>
              </a:ext>
            </a:extLst>
          </p:cNvPr>
          <p:cNvSpPr/>
          <p:nvPr/>
        </p:nvSpPr>
        <p:spPr>
          <a:xfrm>
            <a:off x="144572" y="1028761"/>
            <a:ext cx="1362742" cy="50081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mohon SKA Ahli Muda Freshgraduat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C3F400E-46E8-4F28-9F3D-8528279CAA6A}"/>
              </a:ext>
            </a:extLst>
          </p:cNvPr>
          <p:cNvSpPr/>
          <p:nvPr/>
        </p:nvSpPr>
        <p:spPr>
          <a:xfrm>
            <a:off x="60828" y="0"/>
            <a:ext cx="8902105" cy="523220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lIns="91440" tIns="45720" rIns="91440" bIns="4572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1200" cap="none" spc="0" normalizeH="0" baseline="0" noProof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DM Sans" pitchFamily="2" charset="77"/>
              </a:rPr>
              <a:t>BISNIS PROSES </a:t>
            </a:r>
            <a:r>
              <a:rPr kumimoji="0" lang="en-ID" sz="1400" b="0" i="0" u="none" strike="noStrike" kern="1200" cap="none" spc="0" normalizeH="0" baseline="0" noProof="1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DM Sans" pitchFamily="2" charset="77"/>
              </a:rPr>
              <a:t>SERTIFIKAT KOMPETENSI AHLI MUDA </a:t>
            </a:r>
            <a:r>
              <a:rPr kumimoji="0" lang="en-ID" sz="1400" b="0" i="1" u="none" strike="noStrike" kern="1200" cap="none" spc="0" normalizeH="0" baseline="0" noProof="1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DM Sans" pitchFamily="2" charset="77"/>
              </a:rPr>
              <a:t>FRESHGRADUATE</a:t>
            </a:r>
            <a:r>
              <a:rPr kumimoji="0" lang="en-ID" sz="1400" b="0" i="0" u="none" strike="noStrike" kern="1200" cap="none" spc="0" normalizeH="0" baseline="0" noProof="1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DM Sans" pitchFamily="2" charset="77"/>
              </a:rPr>
              <a:t> (SKA) </a:t>
            </a:r>
            <a:r>
              <a:rPr kumimoji="0" lang="en-ID" sz="1400" b="0" i="0" u="none" strike="noStrike" kern="1200" cap="none" spc="0" normalizeH="0" baseline="0" noProof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DM Sans" pitchFamily="2" charset="77"/>
              </a:rPr>
              <a:t>DAN PEMBAYARAN NON PENGAMPU (SESUAI SE DIRJEN BINA KONSTRUKSI NOMOR 214/SE/Dk/2022)</a:t>
            </a:r>
          </a:p>
        </p:txBody>
      </p:sp>
      <p:sp>
        <p:nvSpPr>
          <p:cNvPr id="165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60828" y="1567302"/>
            <a:ext cx="2154286" cy="1413269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sng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yampaian data Pemohon Baru ke SIKI LPJK: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TP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PWP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to 3x4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wayat Pendidikan (Ijazah/Surat Keterangan Lulus Sementara/Surat Keterangan Telah Menyelesaikan Pembelajaran sesuai program pendidikan)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at Pernyataan Kebenaran Data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lf Assesment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9" name="Tampungan Konten 2">
            <a:extLst>
              <a:ext uri="{FF2B5EF4-FFF2-40B4-BE49-F238E27FC236}">
                <a16:creationId xmlns:a16="http://schemas.microsoft.com/office/drawing/2014/main" id="{C6C7DF09-8782-4919-97BC-85779B9000E7}"/>
              </a:ext>
            </a:extLst>
          </p:cNvPr>
          <p:cNvSpPr txBox="1">
            <a:spLocks/>
          </p:cNvSpPr>
          <p:nvPr/>
        </p:nvSpPr>
        <p:spPr>
          <a:xfrm>
            <a:off x="4523479" y="1652143"/>
            <a:ext cx="1509570" cy="99035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9063" marR="0" lvl="0" indent="-1190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ifikasi dan Validasi</a:t>
            </a:r>
          </a:p>
          <a:p>
            <a:pPr marL="119063" marR="0" lvl="0" indent="-1190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andatangani BA hasil VV</a:t>
            </a:r>
          </a:p>
          <a:p>
            <a:pPr marL="119063" marR="0" lvl="0" indent="-1190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gunggah Data yang sudah di VV ke siki.pu.go.id</a:t>
            </a:r>
          </a:p>
        </p:txBody>
      </p:sp>
      <p:sp>
        <p:nvSpPr>
          <p:cNvPr id="102" name="Freeform: Shape 53">
            <a:extLst>
              <a:ext uri="{FF2B5EF4-FFF2-40B4-BE49-F238E27FC236}">
                <a16:creationId xmlns:a16="http://schemas.microsoft.com/office/drawing/2014/main" id="{077B2236-5959-4BDA-9787-6089087E831D}"/>
              </a:ext>
            </a:extLst>
          </p:cNvPr>
          <p:cNvSpPr/>
          <p:nvPr/>
        </p:nvSpPr>
        <p:spPr>
          <a:xfrm>
            <a:off x="7264028" y="1092256"/>
            <a:ext cx="1476778" cy="504735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bg1">
              <a:lumMod val="85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kretariat Tim Penyelenggara Sertifikasi</a:t>
            </a:r>
          </a:p>
        </p:txBody>
      </p:sp>
      <p:sp>
        <p:nvSpPr>
          <p:cNvPr id="114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4402905" y="1650300"/>
            <a:ext cx="687818" cy="188188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6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7714633" y="883425"/>
            <a:ext cx="687818" cy="188188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0</a:t>
            </a:r>
          </a:p>
        </p:txBody>
      </p:sp>
      <p:sp>
        <p:nvSpPr>
          <p:cNvPr id="27" name="Diamond 26"/>
          <p:cNvSpPr/>
          <p:nvPr/>
        </p:nvSpPr>
        <p:spPr>
          <a:xfrm>
            <a:off x="10434414" y="991100"/>
            <a:ext cx="1053641" cy="635395"/>
          </a:xfrm>
          <a:prstGeom prst="diamond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0608971" y="1156059"/>
            <a:ext cx="6174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ngkap</a:t>
            </a:r>
            <a:endParaRPr kumimoji="0" lang="id-ID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1" name="Freeform: Shape 53">
            <a:extLst>
              <a:ext uri="{FF2B5EF4-FFF2-40B4-BE49-F238E27FC236}">
                <a16:creationId xmlns:a16="http://schemas.microsoft.com/office/drawing/2014/main" id="{077B2236-5959-4BDA-9787-6089087E831D}"/>
              </a:ext>
            </a:extLst>
          </p:cNvPr>
          <p:cNvSpPr/>
          <p:nvPr/>
        </p:nvSpPr>
        <p:spPr>
          <a:xfrm>
            <a:off x="10222846" y="3579831"/>
            <a:ext cx="1476778" cy="504735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bg1">
              <a:lumMod val="85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 Pelaksana Penyelenggara Sertifikasi</a:t>
            </a:r>
          </a:p>
        </p:txBody>
      </p:sp>
      <p:sp>
        <p:nvSpPr>
          <p:cNvPr id="124" name="Freeform: Shape 53">
            <a:extLst>
              <a:ext uri="{FF2B5EF4-FFF2-40B4-BE49-F238E27FC236}">
                <a16:creationId xmlns:a16="http://schemas.microsoft.com/office/drawing/2014/main" id="{077B2236-5959-4BDA-9787-6089087E831D}"/>
              </a:ext>
            </a:extLst>
          </p:cNvPr>
          <p:cNvSpPr/>
          <p:nvPr/>
        </p:nvSpPr>
        <p:spPr>
          <a:xfrm>
            <a:off x="7930034" y="3575940"/>
            <a:ext cx="1476778" cy="504735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bg1">
              <a:lumMod val="85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esor Kompetensi</a:t>
            </a:r>
          </a:p>
        </p:txBody>
      </p:sp>
      <p:sp>
        <p:nvSpPr>
          <p:cNvPr id="128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8973053" y="5069358"/>
            <a:ext cx="2543648" cy="363444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3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9835426" y="4200539"/>
            <a:ext cx="2360629" cy="1593767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unjukan Asesor (1 orang Askom)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jadwalan Uji Kompetensi dan Survey 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K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yampaikan rincian kebutuhan ketersediaan TUK kepada inisiator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fimasi kepada Asesor terkait penyiapan MUK ;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etapkan TUK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etapkan Metode Pelaksanaan Uji </a:t>
            </a:r>
            <a:r>
              <a:rPr kumimoji="0" lang="en-ID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tensi : dalam jaringan/luar jaringan/hybrid/ onsite</a:t>
            </a: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D" sz="800" b="1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34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7770810" y="4185293"/>
            <a:ext cx="1852751" cy="884065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laksanaan Uji Kompetensi (metode </a:t>
            </a:r>
            <a:r>
              <a:rPr kumimoji="0" lang="en-ID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ji Kompetensi : Portofolio, Wawancara, Uji Tertulis, Uji Lisan)</a:t>
            </a: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yampaikan rekomendasi asesor terhadap hasil asesmen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8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2914889" y="2807411"/>
            <a:ext cx="311463" cy="211875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K</a:t>
            </a:r>
          </a:p>
        </p:txBody>
      </p:sp>
      <p:sp>
        <p:nvSpPr>
          <p:cNvPr id="143" name="Freeform: Shape 53">
            <a:extLst>
              <a:ext uri="{FF2B5EF4-FFF2-40B4-BE49-F238E27FC236}">
                <a16:creationId xmlns:a16="http://schemas.microsoft.com/office/drawing/2014/main" id="{077B2236-5959-4BDA-9787-6089087E831D}"/>
              </a:ext>
            </a:extLst>
          </p:cNvPr>
          <p:cNvSpPr/>
          <p:nvPr/>
        </p:nvSpPr>
        <p:spPr>
          <a:xfrm>
            <a:off x="5847119" y="3561939"/>
            <a:ext cx="1476778" cy="504735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bg1">
              <a:lumMod val="85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 Pelaksana Penyelenggara Sertifikasi</a:t>
            </a:r>
          </a:p>
        </p:txBody>
      </p:sp>
      <p:sp>
        <p:nvSpPr>
          <p:cNvPr id="144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5771315" y="4125710"/>
            <a:ext cx="1716231" cy="1185428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mbuat dan menyampaikan daftar pembayaran biaya sertifikasi (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aya Honorarium asesor dan/atau transportasi dan akomodasi asesor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kepada inisiator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erima bukti pembayaran sesuai perjanjian kerjasama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laksana membuat Berita acara hasil uji kompetensi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4" name="Freeform: Shape 53">
            <a:extLst>
              <a:ext uri="{FF2B5EF4-FFF2-40B4-BE49-F238E27FC236}">
                <a16:creationId xmlns:a16="http://schemas.microsoft.com/office/drawing/2014/main" id="{077B2236-5959-4BDA-9787-6089087E831D}"/>
              </a:ext>
            </a:extLst>
          </p:cNvPr>
          <p:cNvSpPr/>
          <p:nvPr/>
        </p:nvSpPr>
        <p:spPr>
          <a:xfrm>
            <a:off x="3962324" y="3609750"/>
            <a:ext cx="1476778" cy="504735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bg1">
              <a:lumMod val="85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 Pengarah/Pengurus</a:t>
            </a:r>
          </a:p>
        </p:txBody>
      </p:sp>
      <p:sp>
        <p:nvSpPr>
          <p:cNvPr id="168" name="Freeform: Shape 53">
            <a:extLst>
              <a:ext uri="{FF2B5EF4-FFF2-40B4-BE49-F238E27FC236}">
                <a16:creationId xmlns:a16="http://schemas.microsoft.com/office/drawing/2014/main" id="{077B2236-5959-4BDA-9787-6089087E831D}"/>
              </a:ext>
            </a:extLst>
          </p:cNvPr>
          <p:cNvSpPr/>
          <p:nvPr/>
        </p:nvSpPr>
        <p:spPr>
          <a:xfrm>
            <a:off x="119264" y="3601856"/>
            <a:ext cx="1476778" cy="504735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bg1">
              <a:lumMod val="85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tua LPJK</a:t>
            </a:r>
          </a:p>
        </p:txBody>
      </p:sp>
      <p:sp>
        <p:nvSpPr>
          <p:cNvPr id="182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3841971" y="4116754"/>
            <a:ext cx="1572891" cy="51752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pat penetapan hasil uji kompetensi (2 hari kerja)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etapan Hasil Uji Kompetensi</a:t>
            </a:r>
          </a:p>
        </p:txBody>
      </p:sp>
      <p:cxnSp>
        <p:nvCxnSpPr>
          <p:cNvPr id="68" name="Elbow Connector 67"/>
          <p:cNvCxnSpPr>
            <a:stCxn id="27" idx="0"/>
          </p:cNvCxnSpPr>
          <p:nvPr/>
        </p:nvCxnSpPr>
        <p:spPr>
          <a:xfrm rot="16200000" flipH="1" flipV="1">
            <a:off x="7286258" y="-2667628"/>
            <a:ext cx="16250" cy="7333705"/>
          </a:xfrm>
          <a:prstGeom prst="bentConnector4">
            <a:avLst>
              <a:gd name="adj1" fmla="val -1406769"/>
              <a:gd name="adj2" fmla="val 100002"/>
            </a:avLst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Arrow Connector 136"/>
          <p:cNvCxnSpPr>
            <a:stCxn id="27" idx="2"/>
          </p:cNvCxnSpPr>
          <p:nvPr/>
        </p:nvCxnSpPr>
        <p:spPr>
          <a:xfrm flipH="1">
            <a:off x="10961234" y="1626495"/>
            <a:ext cx="1" cy="1935444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Arrow Connector 156"/>
          <p:cNvCxnSpPr>
            <a:stCxn id="13" idx="3"/>
          </p:cNvCxnSpPr>
          <p:nvPr/>
        </p:nvCxnSpPr>
        <p:spPr>
          <a:xfrm flipV="1">
            <a:off x="1507314" y="1274082"/>
            <a:ext cx="498733" cy="50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Arrow Connector 187"/>
          <p:cNvCxnSpPr/>
          <p:nvPr/>
        </p:nvCxnSpPr>
        <p:spPr>
          <a:xfrm>
            <a:off x="5337453" y="1329562"/>
            <a:ext cx="1926575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Arrow Connector 189"/>
          <p:cNvCxnSpPr>
            <a:endCxn id="27" idx="1"/>
          </p:cNvCxnSpPr>
          <p:nvPr/>
        </p:nvCxnSpPr>
        <p:spPr>
          <a:xfrm flipV="1">
            <a:off x="8740806" y="1308798"/>
            <a:ext cx="1693608" cy="14306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Arrow Connector 191"/>
          <p:cNvCxnSpPr/>
          <p:nvPr/>
        </p:nvCxnSpPr>
        <p:spPr>
          <a:xfrm flipH="1">
            <a:off x="9382430" y="3803130"/>
            <a:ext cx="816034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Arrow Connector 195"/>
          <p:cNvCxnSpPr>
            <a:stCxn id="194" idx="0"/>
          </p:cNvCxnSpPr>
          <p:nvPr/>
        </p:nvCxnSpPr>
        <p:spPr>
          <a:xfrm flipH="1" flipV="1">
            <a:off x="2849951" y="1626495"/>
            <a:ext cx="14148" cy="1900914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2726711" y="762928"/>
            <a:ext cx="687818" cy="188188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99</a:t>
            </a:r>
          </a:p>
        </p:txBody>
      </p:sp>
      <p:cxnSp>
        <p:nvCxnSpPr>
          <p:cNvPr id="204" name="Straight Arrow Connector 203"/>
          <p:cNvCxnSpPr/>
          <p:nvPr/>
        </p:nvCxnSpPr>
        <p:spPr>
          <a:xfrm flipH="1">
            <a:off x="5430617" y="3854223"/>
            <a:ext cx="411061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1997382" y="3556856"/>
            <a:ext cx="254225" cy="211875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</a:t>
            </a:r>
          </a:p>
        </p:txBody>
      </p:sp>
      <p:cxnSp>
        <p:nvCxnSpPr>
          <p:cNvPr id="207" name="Straight Arrow Connector 206"/>
          <p:cNvCxnSpPr/>
          <p:nvPr/>
        </p:nvCxnSpPr>
        <p:spPr>
          <a:xfrm flipH="1" flipV="1">
            <a:off x="1596042" y="3832199"/>
            <a:ext cx="825268" cy="1394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Straight Arrow Connector 208"/>
          <p:cNvCxnSpPr/>
          <p:nvPr/>
        </p:nvCxnSpPr>
        <p:spPr>
          <a:xfrm flipH="1">
            <a:off x="7287805" y="3803130"/>
            <a:ext cx="617847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Arrow Connector 210"/>
          <p:cNvCxnSpPr/>
          <p:nvPr/>
        </p:nvCxnSpPr>
        <p:spPr>
          <a:xfrm flipH="1">
            <a:off x="3303942" y="3854223"/>
            <a:ext cx="647177" cy="1579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2411865" y="3527409"/>
            <a:ext cx="904468" cy="657884"/>
            <a:chOff x="4309039" y="3489594"/>
            <a:chExt cx="1052101" cy="685210"/>
          </a:xfrm>
        </p:grpSpPr>
        <p:sp>
          <p:nvSpPr>
            <p:cNvPr id="194" name="Diamond 193"/>
            <p:cNvSpPr/>
            <p:nvPr/>
          </p:nvSpPr>
          <p:spPr>
            <a:xfrm>
              <a:off x="4309039" y="3489594"/>
              <a:ext cx="1052101" cy="685210"/>
            </a:xfrm>
            <a:prstGeom prst="diamond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Rectangle 220"/>
            <p:cNvSpPr/>
            <p:nvPr/>
          </p:nvSpPr>
          <p:spPr>
            <a:xfrm>
              <a:off x="4393676" y="3680875"/>
              <a:ext cx="849913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rita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cara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endParaRPr kumimoji="0" lang="id-ID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25" name="Freeform: Shape 53">
            <a:extLst>
              <a:ext uri="{FF2B5EF4-FFF2-40B4-BE49-F238E27FC236}">
                <a16:creationId xmlns:a16="http://schemas.microsoft.com/office/drawing/2014/main" id="{077B2236-5959-4BDA-9787-6089087E831D}"/>
              </a:ext>
            </a:extLst>
          </p:cNvPr>
          <p:cNvSpPr/>
          <p:nvPr/>
        </p:nvSpPr>
        <p:spPr>
          <a:xfrm>
            <a:off x="126292" y="4998712"/>
            <a:ext cx="1476778" cy="504735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bg1">
              <a:lumMod val="85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 Pelaksana dan Sekretariat Tim</a:t>
            </a:r>
          </a:p>
        </p:txBody>
      </p:sp>
      <p:cxnSp>
        <p:nvCxnSpPr>
          <p:cNvPr id="227" name="Straight Arrow Connector 226"/>
          <p:cNvCxnSpPr/>
          <p:nvPr/>
        </p:nvCxnSpPr>
        <p:spPr>
          <a:xfrm>
            <a:off x="809596" y="4106591"/>
            <a:ext cx="0" cy="893408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23721" y="5548092"/>
            <a:ext cx="1572891" cy="421694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erbitan dan Pengirirman SKA elektronik dengan masa berlaku 1 tahun  (1 hari kerja)</a:t>
            </a:r>
          </a:p>
        </p:txBody>
      </p:sp>
      <p:sp>
        <p:nvSpPr>
          <p:cNvPr id="231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10038" y="4769190"/>
            <a:ext cx="766901" cy="188188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4 &amp; 5</a:t>
            </a:r>
          </a:p>
        </p:txBody>
      </p:sp>
      <p:sp>
        <p:nvSpPr>
          <p:cNvPr id="232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4238791" y="3330606"/>
            <a:ext cx="687818" cy="188188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3</a:t>
            </a:r>
          </a:p>
        </p:txBody>
      </p:sp>
      <p:sp>
        <p:nvSpPr>
          <p:cNvPr id="233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8240170" y="3315771"/>
            <a:ext cx="766472" cy="176667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1 &amp; 2</a:t>
            </a:r>
          </a:p>
        </p:txBody>
      </p:sp>
      <p:sp>
        <p:nvSpPr>
          <p:cNvPr id="234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10213053" y="3298381"/>
            <a:ext cx="646076" cy="194057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1 </a:t>
            </a:r>
          </a:p>
        </p:txBody>
      </p:sp>
      <p:sp>
        <p:nvSpPr>
          <p:cNvPr id="236" name="Rectangle: Rounded Corners 12">
            <a:extLst>
              <a:ext uri="{FF2B5EF4-FFF2-40B4-BE49-F238E27FC236}">
                <a16:creationId xmlns:a16="http://schemas.microsoft.com/office/drawing/2014/main" id="{11E0D411-9D85-4995-A539-A844AC06033A}"/>
              </a:ext>
            </a:extLst>
          </p:cNvPr>
          <p:cNvSpPr/>
          <p:nvPr/>
        </p:nvSpPr>
        <p:spPr>
          <a:xfrm>
            <a:off x="2427398" y="5002630"/>
            <a:ext cx="1470689" cy="50081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mohon SKA</a:t>
            </a:r>
          </a:p>
        </p:txBody>
      </p:sp>
      <p:cxnSp>
        <p:nvCxnSpPr>
          <p:cNvPr id="238" name="Straight Arrow Connector 237"/>
          <p:cNvCxnSpPr>
            <a:endCxn id="236" idx="1"/>
          </p:cNvCxnSpPr>
          <p:nvPr/>
        </p:nvCxnSpPr>
        <p:spPr>
          <a:xfrm>
            <a:off x="1603070" y="5249636"/>
            <a:ext cx="824328" cy="34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9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2776248" y="4750974"/>
            <a:ext cx="766901" cy="188188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6</a:t>
            </a:r>
          </a:p>
        </p:txBody>
      </p:sp>
      <p:sp>
        <p:nvSpPr>
          <p:cNvPr id="240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2266220" y="5566915"/>
            <a:ext cx="1715450" cy="450055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mohon download sertifikat menggunakan </a:t>
            </a:r>
            <a:r>
              <a:rPr kumimoji="0" lang="en-US" sz="800" b="0" i="1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ername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an </a:t>
            </a:r>
            <a:r>
              <a:rPr kumimoji="0" lang="en-US" sz="800" b="0" i="1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ssword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yang telah diberikan</a:t>
            </a:r>
          </a:p>
        </p:txBody>
      </p:sp>
      <p:sp>
        <p:nvSpPr>
          <p:cNvPr id="60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7487547" y="457974"/>
            <a:ext cx="418106" cy="211875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dak</a:t>
            </a:r>
          </a:p>
        </p:txBody>
      </p:sp>
      <p:sp>
        <p:nvSpPr>
          <p:cNvPr id="61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10572442" y="1975585"/>
            <a:ext cx="322501" cy="211875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a</a:t>
            </a:r>
          </a:p>
        </p:txBody>
      </p:sp>
      <p:sp>
        <p:nvSpPr>
          <p:cNvPr id="63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7406017" y="1652223"/>
            <a:ext cx="1703160" cy="28071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lakukan pemeriksaan kelengkapan dokumen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mberikan tanda terima permohonan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firmasi ketersediaan TUK, jumlah dan jadwal kehadiran asesi, untuk pelaksanaan Uji Kompetensi</a:t>
            </a:r>
            <a:endParaRPr kumimoji="0" lang="en-ID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64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10942085" y="1608603"/>
            <a:ext cx="1276950" cy="59872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yampaikan hasil pemeriksaan sesuai Format VI angka 6.1.5 (2 Hari Kerja)</a:t>
            </a:r>
          </a:p>
        </p:txBody>
      </p:sp>
      <p:sp>
        <p:nvSpPr>
          <p:cNvPr id="69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2880962" y="3058024"/>
            <a:ext cx="2034249" cy="28071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975" marR="0" lvl="0" indent="-5397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at Pemberitahuan</a:t>
            </a:r>
          </a:p>
        </p:txBody>
      </p:sp>
      <p:sp>
        <p:nvSpPr>
          <p:cNvPr id="70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1664026" y="3892678"/>
            <a:ext cx="914620" cy="29454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975" marR="0" lvl="0" indent="-5397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etujuan Penerbitan dan Pencatatan</a:t>
            </a:r>
          </a:p>
        </p:txBody>
      </p:sp>
      <p:sp>
        <p:nvSpPr>
          <p:cNvPr id="71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772365" y="4127884"/>
            <a:ext cx="914620" cy="29454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975" marR="0" lvl="0" indent="-5397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etapkan nomor registrasi (1 hari kerja)</a:t>
            </a:r>
          </a:p>
        </p:txBody>
      </p:sp>
      <p:sp>
        <p:nvSpPr>
          <p:cNvPr id="72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10038" y="2906903"/>
            <a:ext cx="2154286" cy="542558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sng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yaratan Khusus :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tifikat Pemberian Kompetensi tambahan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tifikat SIBIMA</a:t>
            </a:r>
          </a:p>
        </p:txBody>
      </p:sp>
      <p:sp>
        <p:nvSpPr>
          <p:cNvPr id="66" name="Tampungan Konten 2">
            <a:extLst>
              <a:ext uri="{FF2B5EF4-FFF2-40B4-BE49-F238E27FC236}">
                <a16:creationId xmlns:a16="http://schemas.microsoft.com/office/drawing/2014/main" id="{52B9BE8B-3D55-43A1-A0C4-4FF49B1F9E64}"/>
              </a:ext>
            </a:extLst>
          </p:cNvPr>
          <p:cNvSpPr txBox="1">
            <a:spLocks/>
          </p:cNvSpPr>
          <p:nvPr/>
        </p:nvSpPr>
        <p:spPr>
          <a:xfrm>
            <a:off x="3215277" y="1681674"/>
            <a:ext cx="1421202" cy="877459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9063" marR="0" lvl="0" indent="-1190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yiapkan TUK , 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umlah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n Jadwal Asesi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, </a:t>
            </a:r>
            <a:endParaRPr kumimoji="0" lang="en-US" sz="800" b="0" i="0" u="none" strike="sng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19063" marR="0" lvl="0" indent="-1190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janjian kerjasama antara inisiator dengan Tim Penyelenggara Sertifikasi </a:t>
            </a:r>
          </a:p>
        </p:txBody>
      </p:sp>
      <p:sp>
        <p:nvSpPr>
          <p:cNvPr id="73" name="Tampungan Konten 2">
            <a:extLst>
              <a:ext uri="{FF2B5EF4-FFF2-40B4-BE49-F238E27FC236}">
                <a16:creationId xmlns:a16="http://schemas.microsoft.com/office/drawing/2014/main" id="{CF86294C-190A-4A95-B3EA-642DD053EBFF}"/>
              </a:ext>
            </a:extLst>
          </p:cNvPr>
          <p:cNvSpPr txBox="1">
            <a:spLocks/>
          </p:cNvSpPr>
          <p:nvPr/>
        </p:nvSpPr>
        <p:spPr>
          <a:xfrm>
            <a:off x="10942085" y="2814958"/>
            <a:ext cx="1276950" cy="59872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K, Jumlah dan Jadwal asesi, terkonfirmasi</a:t>
            </a:r>
          </a:p>
        </p:txBody>
      </p:sp>
      <p:pic>
        <p:nvPicPr>
          <p:cNvPr id="3" name="Picture 2" descr="lgo sigap.png">
            <a:extLst>
              <a:ext uri="{FF2B5EF4-FFF2-40B4-BE49-F238E27FC236}">
                <a16:creationId xmlns:a16="http://schemas.microsoft.com/office/drawing/2014/main" id="{3F83D6F0-3905-A4BA-F63D-875420DA4E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6940969-31AE-6F74-E28A-35C3AAAAEC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E09893C5-DA01-1D37-ED83-4B3B2D1BFBFE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21394C1E-B812-B6BD-7454-91AFFDCBC3F2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E270057F-9A6D-50A3-DF3D-A4CF7E307FAE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61586BE1-C720-B4E1-AB23-BE84B0839DD7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BE4B2A2-8E42-1007-6DA2-D5A4E08F594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68360187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EDBF3FF-DDD8-4ED3-AF47-BDB52FB7AF90}"/>
              </a:ext>
            </a:extLst>
          </p:cNvPr>
          <p:cNvSpPr/>
          <p:nvPr/>
        </p:nvSpPr>
        <p:spPr>
          <a:xfrm>
            <a:off x="2030428" y="1020789"/>
            <a:ext cx="3307025" cy="605706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isiator</a:t>
            </a:r>
          </a:p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JK; LPPK; OPD</a:t>
            </a:r>
          </a:p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ses Reqruitment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1E0D411-9D85-4995-A539-A844AC06033A}"/>
              </a:ext>
            </a:extLst>
          </p:cNvPr>
          <p:cNvSpPr/>
          <p:nvPr/>
        </p:nvSpPr>
        <p:spPr>
          <a:xfrm>
            <a:off x="144572" y="1028761"/>
            <a:ext cx="1362742" cy="50081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mohon SK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C3F400E-46E8-4F28-9F3D-8528279CAA6A}"/>
              </a:ext>
            </a:extLst>
          </p:cNvPr>
          <p:cNvSpPr/>
          <p:nvPr/>
        </p:nvSpPr>
        <p:spPr>
          <a:xfrm>
            <a:off x="177363" y="3355"/>
            <a:ext cx="8902105" cy="523220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lIns="91440" tIns="45720" rIns="91440" bIns="4572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1200" cap="none" spc="0" normalizeH="0" baseline="0" noProof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DM Sans" pitchFamily="2" charset="77"/>
              </a:rPr>
              <a:t>BISNIS PROSES </a:t>
            </a:r>
            <a:r>
              <a:rPr kumimoji="0" lang="en-ID" sz="1400" b="0" i="0" u="none" strike="noStrike" kern="1200" cap="none" spc="0" normalizeH="0" baseline="0" noProof="1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DM Sans" pitchFamily="2" charset="77"/>
              </a:rPr>
              <a:t>SERTIFIKAT KOMPETENSI KETERAMPILAN (SKT) KONSTRUKSI </a:t>
            </a:r>
            <a:r>
              <a:rPr kumimoji="0" lang="en-ID" sz="1400" b="0" i="0" u="none" strike="noStrike" kern="1200" cap="none" spc="0" normalizeH="0" baseline="0" noProof="1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DM Sans" pitchFamily="2" charset="77"/>
              </a:rPr>
              <a:t>DAN PEMBAYARAN NON PENGAMPU (SESUAI SE DIRJEN BINA KONSTRUKSI NOMOR 214/SE/Dk/2022)</a:t>
            </a:r>
          </a:p>
        </p:txBody>
      </p:sp>
      <p:sp>
        <p:nvSpPr>
          <p:cNvPr id="165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60828" y="1567303"/>
            <a:ext cx="2154286" cy="1079154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sng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yampaian data Pemohon Baru dan Perpanjangan ke SIKI LPJK: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TP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PWP (jika ada)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to 3x4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wayat Pendidikan (ijazah untuk SKT Kelas 1 dan Kelas 2, untuk SKT kelas 3 dapat tanpa ijazah)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at Pernyataan Kebenaran Data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ftar pengalaman kerja </a:t>
            </a:r>
          </a:p>
        </p:txBody>
      </p:sp>
      <p:sp>
        <p:nvSpPr>
          <p:cNvPr id="169" name="Tampungan Konten 2">
            <a:extLst>
              <a:ext uri="{FF2B5EF4-FFF2-40B4-BE49-F238E27FC236}">
                <a16:creationId xmlns:a16="http://schemas.microsoft.com/office/drawing/2014/main" id="{C6C7DF09-8782-4919-97BC-85779B9000E7}"/>
              </a:ext>
            </a:extLst>
          </p:cNvPr>
          <p:cNvSpPr txBox="1">
            <a:spLocks/>
          </p:cNvSpPr>
          <p:nvPr/>
        </p:nvSpPr>
        <p:spPr>
          <a:xfrm>
            <a:off x="4605406" y="1642644"/>
            <a:ext cx="1543436" cy="990350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9063" marR="0" lvl="0" indent="-1190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ifikasi dan Validasi</a:t>
            </a:r>
          </a:p>
          <a:p>
            <a:pPr marL="119063" marR="0" lvl="0" indent="-1190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andatangani BA hasil VV</a:t>
            </a:r>
          </a:p>
          <a:p>
            <a:pPr marL="119063" marR="0" lvl="0" indent="-1190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gunggah Data yang sudah di VV ke siki.pu.go.id</a:t>
            </a:r>
          </a:p>
        </p:txBody>
      </p:sp>
      <p:sp>
        <p:nvSpPr>
          <p:cNvPr id="102" name="Freeform: Shape 53">
            <a:extLst>
              <a:ext uri="{FF2B5EF4-FFF2-40B4-BE49-F238E27FC236}">
                <a16:creationId xmlns:a16="http://schemas.microsoft.com/office/drawing/2014/main" id="{077B2236-5959-4BDA-9787-6089087E831D}"/>
              </a:ext>
            </a:extLst>
          </p:cNvPr>
          <p:cNvSpPr/>
          <p:nvPr/>
        </p:nvSpPr>
        <p:spPr>
          <a:xfrm>
            <a:off x="7264028" y="1092256"/>
            <a:ext cx="1476778" cy="504735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bg1">
              <a:lumMod val="85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kretariat Tim Penyelenggara Sertifikasi</a:t>
            </a:r>
          </a:p>
        </p:txBody>
      </p:sp>
      <p:sp>
        <p:nvSpPr>
          <p:cNvPr id="114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4402905" y="1650300"/>
            <a:ext cx="687818" cy="188188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6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7714633" y="883425"/>
            <a:ext cx="687818" cy="188188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0</a:t>
            </a:r>
          </a:p>
        </p:txBody>
      </p:sp>
      <p:sp>
        <p:nvSpPr>
          <p:cNvPr id="27" name="Diamond 26"/>
          <p:cNvSpPr/>
          <p:nvPr/>
        </p:nvSpPr>
        <p:spPr>
          <a:xfrm>
            <a:off x="10434414" y="991100"/>
            <a:ext cx="1053641" cy="635395"/>
          </a:xfrm>
          <a:prstGeom prst="diamond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0608971" y="1156059"/>
            <a:ext cx="6174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ngkap</a:t>
            </a:r>
            <a:endParaRPr kumimoji="0" lang="id-ID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1" name="Freeform: Shape 53">
            <a:extLst>
              <a:ext uri="{FF2B5EF4-FFF2-40B4-BE49-F238E27FC236}">
                <a16:creationId xmlns:a16="http://schemas.microsoft.com/office/drawing/2014/main" id="{077B2236-5959-4BDA-9787-6089087E831D}"/>
              </a:ext>
            </a:extLst>
          </p:cNvPr>
          <p:cNvSpPr/>
          <p:nvPr/>
        </p:nvSpPr>
        <p:spPr>
          <a:xfrm>
            <a:off x="10222846" y="3579831"/>
            <a:ext cx="1476778" cy="504735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bg1">
              <a:lumMod val="85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 Pelaksana Penyelenggara Sertifikasi</a:t>
            </a:r>
          </a:p>
        </p:txBody>
      </p:sp>
      <p:sp>
        <p:nvSpPr>
          <p:cNvPr id="124" name="Freeform: Shape 53">
            <a:extLst>
              <a:ext uri="{FF2B5EF4-FFF2-40B4-BE49-F238E27FC236}">
                <a16:creationId xmlns:a16="http://schemas.microsoft.com/office/drawing/2014/main" id="{077B2236-5959-4BDA-9787-6089087E831D}"/>
              </a:ext>
            </a:extLst>
          </p:cNvPr>
          <p:cNvSpPr/>
          <p:nvPr/>
        </p:nvSpPr>
        <p:spPr>
          <a:xfrm>
            <a:off x="7930034" y="3575940"/>
            <a:ext cx="1476778" cy="504735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bg1">
              <a:lumMod val="85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esor Kompetensi</a:t>
            </a:r>
          </a:p>
        </p:txBody>
      </p:sp>
      <p:sp>
        <p:nvSpPr>
          <p:cNvPr id="128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8973053" y="5069358"/>
            <a:ext cx="2543648" cy="363444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3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9835426" y="4200539"/>
            <a:ext cx="2360629" cy="1575109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unjukan Asesor (1 orang Askom)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jadwalan Uji Kompetensi dan Survey 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K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yampaikan rincian kebutuhan ketersediaan TUK, Material dan Peralatan kepada inisiator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fimasi kepada Asesor terkait penyiapan MUK ;</a:t>
            </a: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etapkan TUK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etapkan Metode Pelaksanaan Uji </a:t>
            </a:r>
            <a:r>
              <a:rPr kumimoji="0" lang="en-ID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tensi : dalam jaringan/luar jaringan/hybrid/ onsite</a:t>
            </a: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D" sz="800" b="1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38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2914889" y="2807411"/>
            <a:ext cx="311463" cy="211875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K</a:t>
            </a:r>
          </a:p>
        </p:txBody>
      </p:sp>
      <p:sp>
        <p:nvSpPr>
          <p:cNvPr id="143" name="Freeform: Shape 53">
            <a:extLst>
              <a:ext uri="{FF2B5EF4-FFF2-40B4-BE49-F238E27FC236}">
                <a16:creationId xmlns:a16="http://schemas.microsoft.com/office/drawing/2014/main" id="{077B2236-5959-4BDA-9787-6089087E831D}"/>
              </a:ext>
            </a:extLst>
          </p:cNvPr>
          <p:cNvSpPr/>
          <p:nvPr/>
        </p:nvSpPr>
        <p:spPr>
          <a:xfrm>
            <a:off x="5847119" y="3561939"/>
            <a:ext cx="1476778" cy="504735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bg1">
              <a:lumMod val="85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 Pelaksana Penyelenggara Sertifikasi</a:t>
            </a:r>
          </a:p>
        </p:txBody>
      </p:sp>
      <p:sp>
        <p:nvSpPr>
          <p:cNvPr id="144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5771315" y="4125710"/>
            <a:ext cx="1716231" cy="1212099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mbuat dan menyampaikan daftar pembayaran biaya sertifikasi 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biaya Honorarium asesor dan/atau transportasi dan akomodasi asesor)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epada inisiator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erima bukti pembayaran sesuai perjanjian kerjasama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laksana membuat Berita acara hasil uji kompetensi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4" name="Freeform: Shape 53">
            <a:extLst>
              <a:ext uri="{FF2B5EF4-FFF2-40B4-BE49-F238E27FC236}">
                <a16:creationId xmlns:a16="http://schemas.microsoft.com/office/drawing/2014/main" id="{077B2236-5959-4BDA-9787-6089087E831D}"/>
              </a:ext>
            </a:extLst>
          </p:cNvPr>
          <p:cNvSpPr/>
          <p:nvPr/>
        </p:nvSpPr>
        <p:spPr>
          <a:xfrm>
            <a:off x="3962324" y="3609750"/>
            <a:ext cx="1476778" cy="504735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bg1">
              <a:lumMod val="85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 Pengarah/Pengurus</a:t>
            </a:r>
          </a:p>
        </p:txBody>
      </p:sp>
      <p:sp>
        <p:nvSpPr>
          <p:cNvPr id="168" name="Freeform: Shape 53">
            <a:extLst>
              <a:ext uri="{FF2B5EF4-FFF2-40B4-BE49-F238E27FC236}">
                <a16:creationId xmlns:a16="http://schemas.microsoft.com/office/drawing/2014/main" id="{077B2236-5959-4BDA-9787-6089087E831D}"/>
              </a:ext>
            </a:extLst>
          </p:cNvPr>
          <p:cNvSpPr/>
          <p:nvPr/>
        </p:nvSpPr>
        <p:spPr>
          <a:xfrm>
            <a:off x="119264" y="3601856"/>
            <a:ext cx="1476778" cy="504735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bg1">
              <a:lumMod val="85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tua LPJK</a:t>
            </a:r>
          </a:p>
        </p:txBody>
      </p:sp>
      <p:sp>
        <p:nvSpPr>
          <p:cNvPr id="182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3841971" y="4116754"/>
            <a:ext cx="1572891" cy="51752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pat penetapan hasil uji kompetensi (2 hari kerja)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etapan Hasil Uji Kompetensi</a:t>
            </a:r>
          </a:p>
        </p:txBody>
      </p:sp>
      <p:cxnSp>
        <p:nvCxnSpPr>
          <p:cNvPr id="68" name="Elbow Connector 67"/>
          <p:cNvCxnSpPr>
            <a:stCxn id="27" idx="0"/>
          </p:cNvCxnSpPr>
          <p:nvPr/>
        </p:nvCxnSpPr>
        <p:spPr>
          <a:xfrm rot="16200000" flipH="1" flipV="1">
            <a:off x="7286258" y="-2667628"/>
            <a:ext cx="16250" cy="7333705"/>
          </a:xfrm>
          <a:prstGeom prst="bentConnector4">
            <a:avLst>
              <a:gd name="adj1" fmla="val -1406769"/>
              <a:gd name="adj2" fmla="val 100002"/>
            </a:avLst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Arrow Connector 136"/>
          <p:cNvCxnSpPr>
            <a:stCxn id="27" idx="2"/>
          </p:cNvCxnSpPr>
          <p:nvPr/>
        </p:nvCxnSpPr>
        <p:spPr>
          <a:xfrm flipH="1">
            <a:off x="10961234" y="1626495"/>
            <a:ext cx="1" cy="1935444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Arrow Connector 156"/>
          <p:cNvCxnSpPr>
            <a:stCxn id="13" idx="3"/>
          </p:cNvCxnSpPr>
          <p:nvPr/>
        </p:nvCxnSpPr>
        <p:spPr>
          <a:xfrm flipV="1">
            <a:off x="1507314" y="1274082"/>
            <a:ext cx="498733" cy="50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Arrow Connector 187"/>
          <p:cNvCxnSpPr/>
          <p:nvPr/>
        </p:nvCxnSpPr>
        <p:spPr>
          <a:xfrm>
            <a:off x="5337453" y="1329562"/>
            <a:ext cx="1926575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Arrow Connector 189"/>
          <p:cNvCxnSpPr>
            <a:endCxn id="27" idx="1"/>
          </p:cNvCxnSpPr>
          <p:nvPr/>
        </p:nvCxnSpPr>
        <p:spPr>
          <a:xfrm flipV="1">
            <a:off x="8740806" y="1308798"/>
            <a:ext cx="1693608" cy="14306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Arrow Connector 191"/>
          <p:cNvCxnSpPr/>
          <p:nvPr/>
        </p:nvCxnSpPr>
        <p:spPr>
          <a:xfrm flipH="1">
            <a:off x="9382430" y="3803130"/>
            <a:ext cx="816034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Arrow Connector 195"/>
          <p:cNvCxnSpPr>
            <a:stCxn id="194" idx="0"/>
          </p:cNvCxnSpPr>
          <p:nvPr/>
        </p:nvCxnSpPr>
        <p:spPr>
          <a:xfrm flipH="1" flipV="1">
            <a:off x="2849951" y="1626495"/>
            <a:ext cx="14148" cy="1900914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2726711" y="762928"/>
            <a:ext cx="687818" cy="188188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99</a:t>
            </a:r>
          </a:p>
        </p:txBody>
      </p:sp>
      <p:cxnSp>
        <p:nvCxnSpPr>
          <p:cNvPr id="204" name="Straight Arrow Connector 203"/>
          <p:cNvCxnSpPr/>
          <p:nvPr/>
        </p:nvCxnSpPr>
        <p:spPr>
          <a:xfrm flipH="1">
            <a:off x="5430617" y="3854223"/>
            <a:ext cx="411061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1997382" y="3556856"/>
            <a:ext cx="254225" cy="211875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</a:t>
            </a:r>
          </a:p>
        </p:txBody>
      </p:sp>
      <p:cxnSp>
        <p:nvCxnSpPr>
          <p:cNvPr id="207" name="Straight Arrow Connector 206"/>
          <p:cNvCxnSpPr/>
          <p:nvPr/>
        </p:nvCxnSpPr>
        <p:spPr>
          <a:xfrm flipH="1" flipV="1">
            <a:off x="1596042" y="3832199"/>
            <a:ext cx="825268" cy="1394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Straight Arrow Connector 208"/>
          <p:cNvCxnSpPr/>
          <p:nvPr/>
        </p:nvCxnSpPr>
        <p:spPr>
          <a:xfrm flipH="1">
            <a:off x="7287805" y="3803130"/>
            <a:ext cx="617847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Arrow Connector 210"/>
          <p:cNvCxnSpPr/>
          <p:nvPr/>
        </p:nvCxnSpPr>
        <p:spPr>
          <a:xfrm flipH="1">
            <a:off x="3303942" y="3854223"/>
            <a:ext cx="647177" cy="1579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2411865" y="3527409"/>
            <a:ext cx="904468" cy="657884"/>
            <a:chOff x="4309039" y="3489594"/>
            <a:chExt cx="1052101" cy="685210"/>
          </a:xfrm>
        </p:grpSpPr>
        <p:sp>
          <p:nvSpPr>
            <p:cNvPr id="194" name="Diamond 193"/>
            <p:cNvSpPr/>
            <p:nvPr/>
          </p:nvSpPr>
          <p:spPr>
            <a:xfrm>
              <a:off x="4309039" y="3489594"/>
              <a:ext cx="1052101" cy="685210"/>
            </a:xfrm>
            <a:prstGeom prst="diamond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Rectangle 220"/>
            <p:cNvSpPr/>
            <p:nvPr/>
          </p:nvSpPr>
          <p:spPr>
            <a:xfrm>
              <a:off x="4393676" y="3680875"/>
              <a:ext cx="849913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rita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cara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endParaRPr kumimoji="0" lang="id-ID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25" name="Freeform: Shape 53">
            <a:extLst>
              <a:ext uri="{FF2B5EF4-FFF2-40B4-BE49-F238E27FC236}">
                <a16:creationId xmlns:a16="http://schemas.microsoft.com/office/drawing/2014/main" id="{077B2236-5959-4BDA-9787-6089087E831D}"/>
              </a:ext>
            </a:extLst>
          </p:cNvPr>
          <p:cNvSpPr/>
          <p:nvPr/>
        </p:nvSpPr>
        <p:spPr>
          <a:xfrm>
            <a:off x="126292" y="4998712"/>
            <a:ext cx="1476778" cy="504735"/>
          </a:xfrm>
          <a:custGeom>
            <a:avLst/>
            <a:gdLst>
              <a:gd name="connsiteX0" fmla="*/ 0 w 868306"/>
              <a:gd name="connsiteY0" fmla="*/ 52705 h 316222"/>
              <a:gd name="connsiteX1" fmla="*/ 52705 w 868306"/>
              <a:gd name="connsiteY1" fmla="*/ 0 h 316222"/>
              <a:gd name="connsiteX2" fmla="*/ 815601 w 868306"/>
              <a:gd name="connsiteY2" fmla="*/ 0 h 316222"/>
              <a:gd name="connsiteX3" fmla="*/ 868306 w 868306"/>
              <a:gd name="connsiteY3" fmla="*/ 52705 h 316222"/>
              <a:gd name="connsiteX4" fmla="*/ 868306 w 868306"/>
              <a:gd name="connsiteY4" fmla="*/ 263517 h 316222"/>
              <a:gd name="connsiteX5" fmla="*/ 815601 w 868306"/>
              <a:gd name="connsiteY5" fmla="*/ 316222 h 316222"/>
              <a:gd name="connsiteX6" fmla="*/ 52705 w 868306"/>
              <a:gd name="connsiteY6" fmla="*/ 316222 h 316222"/>
              <a:gd name="connsiteX7" fmla="*/ 0 w 868306"/>
              <a:gd name="connsiteY7" fmla="*/ 263517 h 316222"/>
              <a:gd name="connsiteX8" fmla="*/ 0 w 868306"/>
              <a:gd name="connsiteY8" fmla="*/ 52705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8306" h="316222">
                <a:moveTo>
                  <a:pt x="0" y="52705"/>
                </a:moveTo>
                <a:cubicBezTo>
                  <a:pt x="0" y="23597"/>
                  <a:pt x="23597" y="0"/>
                  <a:pt x="52705" y="0"/>
                </a:cubicBezTo>
                <a:lnTo>
                  <a:pt x="815601" y="0"/>
                </a:lnTo>
                <a:cubicBezTo>
                  <a:pt x="844709" y="0"/>
                  <a:pt x="868306" y="23597"/>
                  <a:pt x="868306" y="52705"/>
                </a:cubicBezTo>
                <a:lnTo>
                  <a:pt x="868306" y="263517"/>
                </a:lnTo>
                <a:cubicBezTo>
                  <a:pt x="868306" y="292625"/>
                  <a:pt x="844709" y="316222"/>
                  <a:pt x="815601" y="316222"/>
                </a:cubicBezTo>
                <a:lnTo>
                  <a:pt x="52705" y="316222"/>
                </a:lnTo>
                <a:cubicBezTo>
                  <a:pt x="23597" y="316222"/>
                  <a:pt x="0" y="292625"/>
                  <a:pt x="0" y="263517"/>
                </a:cubicBezTo>
                <a:lnTo>
                  <a:pt x="0" y="52705"/>
                </a:lnTo>
                <a:close/>
              </a:path>
            </a:pathLst>
          </a:custGeom>
          <a:solidFill>
            <a:schemeClr val="bg1">
              <a:lumMod val="85000"/>
              <a:alpha val="9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157" tIns="61157" rIns="61157" bIns="61157" numCol="1" spcCol="1270" anchor="ctr" anchorCtr="0">
            <a:noAutofit/>
          </a:bodyPr>
          <a:lstStyle/>
          <a:p>
            <a:pPr marL="0" marR="0" lvl="0" indent="0" algn="ctr" defTabSz="533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 Pelaksana dan Sekretariat Tim</a:t>
            </a:r>
          </a:p>
        </p:txBody>
      </p:sp>
      <p:cxnSp>
        <p:nvCxnSpPr>
          <p:cNvPr id="227" name="Straight Arrow Connector 226"/>
          <p:cNvCxnSpPr/>
          <p:nvPr/>
        </p:nvCxnSpPr>
        <p:spPr>
          <a:xfrm>
            <a:off x="809596" y="4106591"/>
            <a:ext cx="0" cy="893408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23721" y="5548092"/>
            <a:ext cx="1572891" cy="421694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erbitan dan Pengirirman SKT elektronik dengan masa berlaku 3 tahun  (1 hari kerja)</a:t>
            </a:r>
          </a:p>
        </p:txBody>
      </p:sp>
      <p:sp>
        <p:nvSpPr>
          <p:cNvPr id="231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10038" y="4769190"/>
            <a:ext cx="766901" cy="188188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4 &amp; 5</a:t>
            </a:r>
          </a:p>
        </p:txBody>
      </p:sp>
      <p:sp>
        <p:nvSpPr>
          <p:cNvPr id="232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4238791" y="3330606"/>
            <a:ext cx="687818" cy="188188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3</a:t>
            </a:r>
          </a:p>
        </p:txBody>
      </p:sp>
      <p:sp>
        <p:nvSpPr>
          <p:cNvPr id="233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8240170" y="3315771"/>
            <a:ext cx="766472" cy="176667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1 &amp; 2</a:t>
            </a:r>
          </a:p>
        </p:txBody>
      </p:sp>
      <p:sp>
        <p:nvSpPr>
          <p:cNvPr id="234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10213053" y="3298381"/>
            <a:ext cx="646076" cy="194057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1 </a:t>
            </a:r>
          </a:p>
        </p:txBody>
      </p:sp>
      <p:sp>
        <p:nvSpPr>
          <p:cNvPr id="236" name="Rectangle: Rounded Corners 12">
            <a:extLst>
              <a:ext uri="{FF2B5EF4-FFF2-40B4-BE49-F238E27FC236}">
                <a16:creationId xmlns:a16="http://schemas.microsoft.com/office/drawing/2014/main" id="{11E0D411-9D85-4995-A539-A844AC06033A}"/>
              </a:ext>
            </a:extLst>
          </p:cNvPr>
          <p:cNvSpPr/>
          <p:nvPr/>
        </p:nvSpPr>
        <p:spPr>
          <a:xfrm>
            <a:off x="2427398" y="5002630"/>
            <a:ext cx="1470689" cy="50081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mohon SKT</a:t>
            </a:r>
          </a:p>
        </p:txBody>
      </p:sp>
      <p:cxnSp>
        <p:nvCxnSpPr>
          <p:cNvPr id="238" name="Straight Arrow Connector 237"/>
          <p:cNvCxnSpPr>
            <a:endCxn id="236" idx="1"/>
          </p:cNvCxnSpPr>
          <p:nvPr/>
        </p:nvCxnSpPr>
        <p:spPr>
          <a:xfrm>
            <a:off x="1603070" y="5249636"/>
            <a:ext cx="824328" cy="34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9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2776248" y="4750974"/>
            <a:ext cx="766901" cy="188188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6</a:t>
            </a:r>
          </a:p>
        </p:txBody>
      </p:sp>
      <p:sp>
        <p:nvSpPr>
          <p:cNvPr id="240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2266220" y="5566915"/>
            <a:ext cx="1715450" cy="450055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mohon download sertifikat menggunakan </a:t>
            </a:r>
            <a:r>
              <a:rPr kumimoji="0" lang="en-US" sz="800" b="0" i="1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ername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an </a:t>
            </a:r>
            <a:r>
              <a:rPr kumimoji="0" lang="en-US" sz="800" b="0" i="1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ssword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yang telah diberikan</a:t>
            </a:r>
          </a:p>
        </p:txBody>
      </p:sp>
      <p:sp>
        <p:nvSpPr>
          <p:cNvPr id="60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7487547" y="457974"/>
            <a:ext cx="418106" cy="211875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dak</a:t>
            </a:r>
          </a:p>
        </p:txBody>
      </p:sp>
      <p:sp>
        <p:nvSpPr>
          <p:cNvPr id="61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10572442" y="1975585"/>
            <a:ext cx="322501" cy="211875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a</a:t>
            </a:r>
          </a:p>
        </p:txBody>
      </p:sp>
      <p:sp>
        <p:nvSpPr>
          <p:cNvPr id="63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7673286" y="1629890"/>
            <a:ext cx="1703160" cy="28071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lakukan pemeriksaan kelengkapan dokumen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mberikan tanda terima permohonan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firmasi ketersediaan TUK, jumlah dan jadwal kehadiran asesi, Material dan Peralatan untuk pelaksanaan Uji Kompetensi</a:t>
            </a:r>
            <a:endParaRPr kumimoji="0" lang="en-ID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64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10849580" y="1655986"/>
            <a:ext cx="1276950" cy="59872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yampaikan hasil pemeriksaan sesuai Format VI angka 6.1.5 (2 Hari Kerja)</a:t>
            </a:r>
          </a:p>
        </p:txBody>
      </p:sp>
      <p:sp>
        <p:nvSpPr>
          <p:cNvPr id="69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2880962" y="3058024"/>
            <a:ext cx="2034249" cy="28071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975" marR="0" lvl="0" indent="-5397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at Pemberitahuan</a:t>
            </a:r>
          </a:p>
        </p:txBody>
      </p:sp>
      <p:sp>
        <p:nvSpPr>
          <p:cNvPr id="70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1664026" y="3892678"/>
            <a:ext cx="914620" cy="29454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975" marR="0" lvl="0" indent="-5397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etujuan Penerbitan dan Pencatatan</a:t>
            </a:r>
          </a:p>
        </p:txBody>
      </p:sp>
      <p:sp>
        <p:nvSpPr>
          <p:cNvPr id="71" name="Tampungan Konten 2">
            <a:extLst>
              <a:ext uri="{FF2B5EF4-FFF2-40B4-BE49-F238E27FC236}">
                <a16:creationId xmlns:a16="http://schemas.microsoft.com/office/drawing/2014/main" id="{62E41592-58CA-492B-B307-3C1CB135DD71}"/>
              </a:ext>
            </a:extLst>
          </p:cNvPr>
          <p:cNvSpPr txBox="1">
            <a:spLocks/>
          </p:cNvSpPr>
          <p:nvPr/>
        </p:nvSpPr>
        <p:spPr>
          <a:xfrm>
            <a:off x="772365" y="4127884"/>
            <a:ext cx="914620" cy="29454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975" marR="0" lvl="0" indent="-5397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etapkan nomor registrasi (1 hari kerja)</a:t>
            </a:r>
          </a:p>
        </p:txBody>
      </p:sp>
      <p:sp>
        <p:nvSpPr>
          <p:cNvPr id="6" name="Rectangle 5"/>
          <p:cNvSpPr/>
          <p:nvPr/>
        </p:nvSpPr>
        <p:spPr>
          <a:xfrm>
            <a:off x="60828" y="2617902"/>
            <a:ext cx="17594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sng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sus Perpanjangan Sertifikat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tifikat Keterampilan / SKT</a:t>
            </a:r>
          </a:p>
        </p:txBody>
      </p:sp>
      <p:sp>
        <p:nvSpPr>
          <p:cNvPr id="7" name="Tampungan Konten 2">
            <a:extLst>
              <a:ext uri="{FF2B5EF4-FFF2-40B4-BE49-F238E27FC236}">
                <a16:creationId xmlns:a16="http://schemas.microsoft.com/office/drawing/2014/main" id="{F504F64C-27D9-BFEE-2871-F5ED84FCAF77}"/>
              </a:ext>
            </a:extLst>
          </p:cNvPr>
          <p:cNvSpPr txBox="1">
            <a:spLocks/>
          </p:cNvSpPr>
          <p:nvPr/>
        </p:nvSpPr>
        <p:spPr>
          <a:xfrm>
            <a:off x="10942085" y="2814958"/>
            <a:ext cx="1276950" cy="59872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K, Jumlah dan jadwal asesi, material, peralatan terkonfirmasi</a:t>
            </a:r>
          </a:p>
        </p:txBody>
      </p:sp>
      <p:sp>
        <p:nvSpPr>
          <p:cNvPr id="65" name="Tampungan Konten 2">
            <a:extLst>
              <a:ext uri="{FF2B5EF4-FFF2-40B4-BE49-F238E27FC236}">
                <a16:creationId xmlns:a16="http://schemas.microsoft.com/office/drawing/2014/main" id="{958F1201-90CE-477D-B855-B1D8C990B502}"/>
              </a:ext>
            </a:extLst>
          </p:cNvPr>
          <p:cNvSpPr txBox="1">
            <a:spLocks/>
          </p:cNvSpPr>
          <p:nvPr/>
        </p:nvSpPr>
        <p:spPr>
          <a:xfrm>
            <a:off x="3198861" y="1654311"/>
            <a:ext cx="1421202" cy="877459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9063" marR="0" lvl="0" indent="-1190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yiapkan TUK,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umlah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n Jadwal Asesi</a:t>
            </a: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Material, dan Peralatan Uji Kompetensi</a:t>
            </a:r>
          </a:p>
          <a:p>
            <a:pPr marL="119063" marR="0" lvl="0" indent="-11906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janjian kerjasama antara inisiator dengan Tim Penyelenggara Sertifikasi </a:t>
            </a:r>
          </a:p>
        </p:txBody>
      </p:sp>
      <p:sp>
        <p:nvSpPr>
          <p:cNvPr id="67" name="Tampungan Konten 2">
            <a:extLst>
              <a:ext uri="{FF2B5EF4-FFF2-40B4-BE49-F238E27FC236}">
                <a16:creationId xmlns:a16="http://schemas.microsoft.com/office/drawing/2014/main" id="{C84C46A1-BF35-4FEA-88FC-ADB062732609}"/>
              </a:ext>
            </a:extLst>
          </p:cNvPr>
          <p:cNvSpPr txBox="1">
            <a:spLocks/>
          </p:cNvSpPr>
          <p:nvPr/>
        </p:nvSpPr>
        <p:spPr>
          <a:xfrm>
            <a:off x="7770810" y="4185293"/>
            <a:ext cx="1852751" cy="884065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D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laksanaan Uji Kompetensi (metode </a:t>
            </a:r>
            <a:r>
              <a:rPr kumimoji="0" lang="en-ID" sz="800" b="0" i="0" u="none" strike="noStrike" kern="1200" cap="none" spc="0" normalizeH="0" baseline="0" noProof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ji Kompetensi : Portofolio, Wawancara, Uji Tertulis, Observasi/Praktek)</a:t>
            </a: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yampaikan rekomendasi asesor terhadap hasil asesmen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8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 descr="lgo sigap.png">
            <a:extLst>
              <a:ext uri="{FF2B5EF4-FFF2-40B4-BE49-F238E27FC236}">
                <a16:creationId xmlns:a16="http://schemas.microsoft.com/office/drawing/2014/main" id="{05ED805A-AF4E-A625-D498-37AA7F485A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62B36A3-47CA-8A64-F7A6-D2FCBF01BB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040AD086-9A21-5CD4-40EB-44D72B29D3D5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E72D06ED-EE76-79A8-2BD4-7E02C53D0A54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4EEDB207-A6F6-6FA8-A411-3BD0FAF41C5A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728C5709-BEB2-C136-7D1B-CA3F84CCFDEF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D888A5D-26AF-B5F5-13CF-237B5ED024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303800798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 5">
            <a:extLst>
              <a:ext uri="{FF2B5EF4-FFF2-40B4-BE49-F238E27FC236}">
                <a16:creationId xmlns:a16="http://schemas.microsoft.com/office/drawing/2014/main" id="{1CF3A9B4-A685-40C1-9617-B8CE27B1BC46}"/>
              </a:ext>
            </a:extLst>
          </p:cNvPr>
          <p:cNvSpPr/>
          <p:nvPr/>
        </p:nvSpPr>
        <p:spPr>
          <a:xfrm>
            <a:off x="1259113" y="2916722"/>
            <a:ext cx="9826030" cy="1063749"/>
          </a:xfrm>
          <a:custGeom>
            <a:avLst/>
            <a:gdLst>
              <a:gd name="connsiteX0" fmla="*/ 0 w 4566783"/>
              <a:gd name="connsiteY0" fmla="*/ 0 h 1427119"/>
              <a:gd name="connsiteX1" fmla="*/ 4566783 w 4566783"/>
              <a:gd name="connsiteY1" fmla="*/ 0 h 1427119"/>
              <a:gd name="connsiteX2" fmla="*/ 4566783 w 4566783"/>
              <a:gd name="connsiteY2" fmla="*/ 1427119 h 1427119"/>
              <a:gd name="connsiteX3" fmla="*/ 0 w 4566783"/>
              <a:gd name="connsiteY3" fmla="*/ 1427119 h 1427119"/>
              <a:gd name="connsiteX4" fmla="*/ 0 w 4566783"/>
              <a:gd name="connsiteY4" fmla="*/ 0 h 1427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6783" h="1427119">
                <a:moveTo>
                  <a:pt x="0" y="0"/>
                </a:moveTo>
                <a:lnTo>
                  <a:pt x="4566783" y="0"/>
                </a:lnTo>
                <a:lnTo>
                  <a:pt x="4566783" y="1427119"/>
                </a:lnTo>
                <a:lnTo>
                  <a:pt x="0" y="142711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66636" tIns="133350" rIns="133350" bIns="133350" numCol="1" spcCol="1270" anchor="ctr" anchorCtr="0">
            <a:noAutofit/>
          </a:bodyPr>
          <a:lstStyle/>
          <a:p>
            <a:pPr marL="0" marR="0" lvl="0" indent="0" algn="l" defTabSz="1555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nn-NO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at Kepala Pusat Data dan Teknologi Informasi Nomor PA 0203-Sd/631 Hal Pemberitahuan Gangguan Layanan Pusat Data Nasional (PDN) 2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BA314B3A-DAFD-49F4-BC49-2E2A632A5DE4}"/>
              </a:ext>
            </a:extLst>
          </p:cNvPr>
          <p:cNvSpPr txBox="1">
            <a:spLocks/>
          </p:cNvSpPr>
          <p:nvPr/>
        </p:nvSpPr>
        <p:spPr>
          <a:xfrm>
            <a:off x="1289645" y="-48133"/>
            <a:ext cx="9883098" cy="8669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aftar Surat </a:t>
            </a:r>
            <a:r>
              <a:rPr kumimoji="0" 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Gangguan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PDN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7" name="Picture 6" descr="lgo sigap.png">
            <a:extLst>
              <a:ext uri="{FF2B5EF4-FFF2-40B4-BE49-F238E27FC236}">
                <a16:creationId xmlns:a16="http://schemas.microsoft.com/office/drawing/2014/main" id="{8AE23FBE-321A-A619-2D3A-8F1D6218FB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80320" y="391"/>
            <a:ext cx="2011459" cy="775531"/>
          </a:xfrm>
          <a:prstGeom prst="rect">
            <a:avLst/>
          </a:prstGeom>
        </p:spPr>
      </p:pic>
      <p:pic>
        <p:nvPicPr>
          <p:cNvPr id="12" name="Picture 11" descr="Text, logo&#10;&#10;Description automatically generated">
            <a:extLst>
              <a:ext uri="{FF2B5EF4-FFF2-40B4-BE49-F238E27FC236}">
                <a16:creationId xmlns:a16="http://schemas.microsoft.com/office/drawing/2014/main" id="{5BAB4473-CD67-BF02-298F-BB28E26E1F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434" y="23542"/>
            <a:ext cx="1615921" cy="614684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B25EC32E-EDE3-323E-C39C-0EA31C4856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DD83D7DD-CBEA-130C-8FB9-705650BFFC17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67A64BE0-290B-2170-78CC-DDD20DF3EACC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2DC88595-6E28-62BA-4323-E11EAB68FCAD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30" b="1" i="0" u="none" strike="noStrike" kern="1200" cap="none" spc="32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LEMBAGA PENGEMBANGAN JASA KONSTRUKSI</a:t>
                </a:r>
                <a:endParaRPr kumimoji="0" lang="en-ID" sz="1030" b="1" i="0" u="none" strike="noStrike" kern="1200" cap="none" spc="32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3CC1186C-23EB-601E-3790-99904146D55D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KEMENTERIAN PEKERJAAN UMUM DAN PERUMAHAN RAKYAT</a:t>
                </a:r>
                <a:endParaRPr kumimoji="0" lang="en-ID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endParaRPr>
              </a:p>
            </p:txBody>
          </p:sp>
        </p:grpSp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A5A6369E-5BDC-418C-7058-B32F40A937A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sp>
        <p:nvSpPr>
          <p:cNvPr id="77" name="Freeform 5">
            <a:extLst>
              <a:ext uri="{FF2B5EF4-FFF2-40B4-BE49-F238E27FC236}">
                <a16:creationId xmlns:a16="http://schemas.microsoft.com/office/drawing/2014/main" id="{8EB3DD78-AA37-19A6-40C1-B497D082A6EF}"/>
              </a:ext>
            </a:extLst>
          </p:cNvPr>
          <p:cNvSpPr/>
          <p:nvPr/>
        </p:nvSpPr>
        <p:spPr>
          <a:xfrm>
            <a:off x="1222970" y="1057819"/>
            <a:ext cx="9826030" cy="856928"/>
          </a:xfrm>
          <a:custGeom>
            <a:avLst/>
            <a:gdLst>
              <a:gd name="connsiteX0" fmla="*/ 0 w 4566783"/>
              <a:gd name="connsiteY0" fmla="*/ 0 h 1427119"/>
              <a:gd name="connsiteX1" fmla="*/ 4566783 w 4566783"/>
              <a:gd name="connsiteY1" fmla="*/ 0 h 1427119"/>
              <a:gd name="connsiteX2" fmla="*/ 4566783 w 4566783"/>
              <a:gd name="connsiteY2" fmla="*/ 1427119 h 1427119"/>
              <a:gd name="connsiteX3" fmla="*/ 0 w 4566783"/>
              <a:gd name="connsiteY3" fmla="*/ 1427119 h 1427119"/>
              <a:gd name="connsiteX4" fmla="*/ 0 w 4566783"/>
              <a:gd name="connsiteY4" fmla="*/ 0 h 1427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6783" h="1427119">
                <a:moveTo>
                  <a:pt x="0" y="0"/>
                </a:moveTo>
                <a:lnTo>
                  <a:pt x="4566783" y="0"/>
                </a:lnTo>
                <a:lnTo>
                  <a:pt x="4566783" y="1427119"/>
                </a:lnTo>
                <a:lnTo>
                  <a:pt x="0" y="142711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66636" tIns="133350" rIns="133350" bIns="133350" numCol="1" spcCol="1270" anchor="ctr" anchorCtr="0">
            <a:noAutofit/>
          </a:bodyPr>
          <a:lstStyle/>
          <a:p>
            <a:pPr marL="0" marR="0" lvl="0" indent="0" algn="l" defTabSz="1555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at 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t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rektur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yanan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likasi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ormatika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merintah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. </a:t>
            </a:r>
            <a:r>
              <a:rPr kumimoji="0" lang="it-IT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.697/DJAI.3/Al.01.01/06/2024 Hal Pemberitahuan Gangguan Layanan Pusat Data Nasional 2</a:t>
            </a:r>
            <a:endParaRPr kumimoji="0" lang="en-US" sz="2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D22292B5-2B15-E54C-F796-F7D6E6C73FF6}"/>
              </a:ext>
            </a:extLst>
          </p:cNvPr>
          <p:cNvSpPr/>
          <p:nvPr/>
        </p:nvSpPr>
        <p:spPr>
          <a:xfrm>
            <a:off x="857590" y="986519"/>
            <a:ext cx="1125231" cy="581025"/>
          </a:xfrm>
          <a:prstGeom prst="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4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Freeform 7">
            <a:extLst>
              <a:ext uri="{FF2B5EF4-FFF2-40B4-BE49-F238E27FC236}">
                <a16:creationId xmlns:a16="http://schemas.microsoft.com/office/drawing/2014/main" id="{8D901614-0146-FCE0-6200-50875CCC5FD2}"/>
              </a:ext>
            </a:extLst>
          </p:cNvPr>
          <p:cNvSpPr/>
          <p:nvPr/>
        </p:nvSpPr>
        <p:spPr>
          <a:xfrm>
            <a:off x="1222970" y="4146577"/>
            <a:ext cx="9826030" cy="718305"/>
          </a:xfrm>
          <a:custGeom>
            <a:avLst/>
            <a:gdLst>
              <a:gd name="connsiteX0" fmla="*/ 0 w 4566783"/>
              <a:gd name="connsiteY0" fmla="*/ 0 h 1427119"/>
              <a:gd name="connsiteX1" fmla="*/ 4566783 w 4566783"/>
              <a:gd name="connsiteY1" fmla="*/ 0 h 1427119"/>
              <a:gd name="connsiteX2" fmla="*/ 4566783 w 4566783"/>
              <a:gd name="connsiteY2" fmla="*/ 1427119 h 1427119"/>
              <a:gd name="connsiteX3" fmla="*/ 0 w 4566783"/>
              <a:gd name="connsiteY3" fmla="*/ 1427119 h 1427119"/>
              <a:gd name="connsiteX4" fmla="*/ 0 w 4566783"/>
              <a:gd name="connsiteY4" fmla="*/ 0 h 1427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6783" h="1427119">
                <a:moveTo>
                  <a:pt x="0" y="0"/>
                </a:moveTo>
                <a:lnTo>
                  <a:pt x="4566783" y="0"/>
                </a:lnTo>
                <a:lnTo>
                  <a:pt x="4566783" y="1427119"/>
                </a:lnTo>
                <a:lnTo>
                  <a:pt x="0" y="142711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66636" tIns="133350" rIns="133350" bIns="133350" numCol="1" spcCol="1270" anchor="ctr" anchorCtr="0">
            <a:noAutofit/>
          </a:bodyPr>
          <a:lstStyle/>
          <a:p>
            <a:pPr marL="0" marR="0" lvl="0" indent="0" algn="l" defTabSz="1555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at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tu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PJK No. BK 0401-Lk/482 Hal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laksanaa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itness LSP Pada Masa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nggua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yana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da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likasi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PJK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B6E60345-B9B9-3912-0F1C-ECDBA6065D20}"/>
              </a:ext>
            </a:extLst>
          </p:cNvPr>
          <p:cNvSpPr/>
          <p:nvPr/>
        </p:nvSpPr>
        <p:spPr>
          <a:xfrm>
            <a:off x="857590" y="4030039"/>
            <a:ext cx="1125231" cy="581025"/>
          </a:xfrm>
          <a:prstGeom prst="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tint val="50000"/>
              <a:hueOff val="2289505"/>
              <a:satOff val="-12031"/>
              <a:lumOff val="-871"/>
              <a:alphaOff val="0"/>
            </a:schemeClr>
          </a:fillRef>
          <a:effectRef idx="0">
            <a:schemeClr val="accent4">
              <a:tint val="50000"/>
              <a:hueOff val="2289505"/>
              <a:satOff val="-12031"/>
              <a:lumOff val="-871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Freeform 9">
            <a:extLst>
              <a:ext uri="{FF2B5EF4-FFF2-40B4-BE49-F238E27FC236}">
                <a16:creationId xmlns:a16="http://schemas.microsoft.com/office/drawing/2014/main" id="{BF436E87-C64F-1206-F370-556575726FAD}"/>
              </a:ext>
            </a:extLst>
          </p:cNvPr>
          <p:cNvSpPr/>
          <p:nvPr/>
        </p:nvSpPr>
        <p:spPr>
          <a:xfrm>
            <a:off x="1222970" y="2013873"/>
            <a:ext cx="9826030" cy="686173"/>
          </a:xfrm>
          <a:custGeom>
            <a:avLst/>
            <a:gdLst>
              <a:gd name="connsiteX0" fmla="*/ 0 w 4566783"/>
              <a:gd name="connsiteY0" fmla="*/ 0 h 1427119"/>
              <a:gd name="connsiteX1" fmla="*/ 4566783 w 4566783"/>
              <a:gd name="connsiteY1" fmla="*/ 0 h 1427119"/>
              <a:gd name="connsiteX2" fmla="*/ 4566783 w 4566783"/>
              <a:gd name="connsiteY2" fmla="*/ 1427119 h 1427119"/>
              <a:gd name="connsiteX3" fmla="*/ 0 w 4566783"/>
              <a:gd name="connsiteY3" fmla="*/ 1427119 h 1427119"/>
              <a:gd name="connsiteX4" fmla="*/ 0 w 4566783"/>
              <a:gd name="connsiteY4" fmla="*/ 0 h 1427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6783" h="1427119">
                <a:moveTo>
                  <a:pt x="0" y="0"/>
                </a:moveTo>
                <a:lnTo>
                  <a:pt x="4566783" y="0"/>
                </a:lnTo>
                <a:lnTo>
                  <a:pt x="4566783" y="1427119"/>
                </a:lnTo>
                <a:lnTo>
                  <a:pt x="0" y="142711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66636" tIns="133350" rIns="133350" bIns="133350" numCol="1" spcCol="1270" anchor="ctr" anchorCtr="0">
            <a:noAutofit/>
          </a:bodyPr>
          <a:lstStyle/>
          <a:p>
            <a:pPr marL="0" marR="0" lvl="0" indent="0" algn="l" defTabSz="1555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at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tu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PJK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mor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K 0401-Lk/473 Hal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gumuma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rjadiny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nggua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yana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da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likasi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PJK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24C0BFE3-3C6E-7007-0195-86BCDA4E5B20}"/>
              </a:ext>
            </a:extLst>
          </p:cNvPr>
          <p:cNvSpPr/>
          <p:nvPr/>
        </p:nvSpPr>
        <p:spPr>
          <a:xfrm>
            <a:off x="857590" y="1897334"/>
            <a:ext cx="1125231" cy="581025"/>
          </a:xfrm>
          <a:prstGeom prst="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tint val="50000"/>
              <a:hueOff val="4579010"/>
              <a:satOff val="-24062"/>
              <a:lumOff val="-1741"/>
              <a:alphaOff val="0"/>
            </a:schemeClr>
          </a:fillRef>
          <a:effectRef idx="0">
            <a:schemeClr val="accent4">
              <a:tint val="50000"/>
              <a:hueOff val="4579010"/>
              <a:satOff val="-24062"/>
              <a:lumOff val="-1741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21861941-21C6-8450-91AA-76BAE07945E3}"/>
              </a:ext>
            </a:extLst>
          </p:cNvPr>
          <p:cNvSpPr/>
          <p:nvPr/>
        </p:nvSpPr>
        <p:spPr>
          <a:xfrm>
            <a:off x="857590" y="2795268"/>
            <a:ext cx="1125231" cy="581025"/>
          </a:xfrm>
          <a:prstGeom prst="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tint val="50000"/>
              <a:hueOff val="9158019"/>
              <a:satOff val="-48125"/>
              <a:lumOff val="-3482"/>
              <a:alphaOff val="0"/>
            </a:schemeClr>
          </a:fillRef>
          <a:effectRef idx="0">
            <a:schemeClr val="accent4">
              <a:tint val="50000"/>
              <a:hueOff val="9158019"/>
              <a:satOff val="-48125"/>
              <a:lumOff val="-3482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DD801B70-AF03-B06B-72E6-406D728D2055}"/>
              </a:ext>
            </a:extLst>
          </p:cNvPr>
          <p:cNvSpPr txBox="1"/>
          <p:nvPr/>
        </p:nvSpPr>
        <p:spPr>
          <a:xfrm>
            <a:off x="1141102" y="920123"/>
            <a:ext cx="5582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F297EB39-B688-872E-2077-F0CDE2AC6642}"/>
              </a:ext>
            </a:extLst>
          </p:cNvPr>
          <p:cNvSpPr txBox="1"/>
          <p:nvPr/>
        </p:nvSpPr>
        <p:spPr>
          <a:xfrm>
            <a:off x="1141101" y="1800718"/>
            <a:ext cx="5582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7D4E42C0-6881-DFE1-813B-2E1BFFFBB56B}"/>
              </a:ext>
            </a:extLst>
          </p:cNvPr>
          <p:cNvSpPr txBox="1"/>
          <p:nvPr/>
        </p:nvSpPr>
        <p:spPr>
          <a:xfrm>
            <a:off x="1106857" y="2685255"/>
            <a:ext cx="5582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.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8B41077E-8B76-B934-907E-DB41EC8757C0}"/>
              </a:ext>
            </a:extLst>
          </p:cNvPr>
          <p:cNvSpPr txBox="1"/>
          <p:nvPr/>
        </p:nvSpPr>
        <p:spPr>
          <a:xfrm>
            <a:off x="1139288" y="3954242"/>
            <a:ext cx="5582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.</a:t>
            </a:r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F978802D-03DE-4352-A4E6-C65426711CD6}"/>
              </a:ext>
            </a:extLst>
          </p:cNvPr>
          <p:cNvSpPr/>
          <p:nvPr/>
        </p:nvSpPr>
        <p:spPr>
          <a:xfrm>
            <a:off x="1222970" y="5044523"/>
            <a:ext cx="9826030" cy="1063749"/>
          </a:xfrm>
          <a:custGeom>
            <a:avLst/>
            <a:gdLst>
              <a:gd name="connsiteX0" fmla="*/ 0 w 4566783"/>
              <a:gd name="connsiteY0" fmla="*/ 0 h 1427119"/>
              <a:gd name="connsiteX1" fmla="*/ 4566783 w 4566783"/>
              <a:gd name="connsiteY1" fmla="*/ 0 h 1427119"/>
              <a:gd name="connsiteX2" fmla="*/ 4566783 w 4566783"/>
              <a:gd name="connsiteY2" fmla="*/ 1427119 h 1427119"/>
              <a:gd name="connsiteX3" fmla="*/ 0 w 4566783"/>
              <a:gd name="connsiteY3" fmla="*/ 1427119 h 1427119"/>
              <a:gd name="connsiteX4" fmla="*/ 0 w 4566783"/>
              <a:gd name="connsiteY4" fmla="*/ 0 h 1427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6783" h="1427119">
                <a:moveTo>
                  <a:pt x="0" y="0"/>
                </a:moveTo>
                <a:lnTo>
                  <a:pt x="4566783" y="0"/>
                </a:lnTo>
                <a:lnTo>
                  <a:pt x="4566783" y="1427119"/>
                </a:lnTo>
                <a:lnTo>
                  <a:pt x="0" y="142711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66636" tIns="133350" rIns="133350" bIns="133350" numCol="1" spcCol="1270" anchor="ctr" anchorCtr="0">
            <a:noAutofit/>
          </a:bodyPr>
          <a:lstStyle/>
          <a:p>
            <a:pPr marL="0" marR="0" lvl="0" indent="0" algn="l" defTabSz="1555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nn-NO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at Kepala Pusat Data dan Teknologi Informasi Nomor PA 0203-Sd/631 </a:t>
            </a:r>
            <a:r>
              <a:rPr kumimoji="0" lang="en-ID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Hal </a:t>
            </a:r>
            <a:r>
              <a:rPr kumimoji="0" lang="en-ID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Pemberitahuan</a:t>
            </a:r>
            <a:r>
              <a:rPr kumimoji="0" lang="en-ID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ID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Gangguan</a:t>
            </a:r>
            <a:r>
              <a:rPr kumimoji="0" lang="en-ID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ID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Layanan</a:t>
            </a:r>
            <a:r>
              <a:rPr kumimoji="0" lang="en-ID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 Pusat Data Nasional (PDN) 2.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BC5518A-A885-4FEE-BE30-6EFC1CC6F8EB}"/>
              </a:ext>
            </a:extLst>
          </p:cNvPr>
          <p:cNvSpPr/>
          <p:nvPr/>
        </p:nvSpPr>
        <p:spPr>
          <a:xfrm>
            <a:off x="857590" y="4927985"/>
            <a:ext cx="1125231" cy="581025"/>
          </a:xfrm>
          <a:prstGeom prst="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4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07EE394-B2DC-4C05-B5DB-0F3C411DC2B2}"/>
              </a:ext>
            </a:extLst>
          </p:cNvPr>
          <p:cNvSpPr txBox="1"/>
          <p:nvPr/>
        </p:nvSpPr>
        <p:spPr>
          <a:xfrm>
            <a:off x="1141102" y="4861589"/>
            <a:ext cx="5582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</a:t>
            </a:r>
          </a:p>
        </p:txBody>
      </p:sp>
    </p:spTree>
    <p:extLst>
      <p:ext uri="{BB962C8B-B14F-4D97-AF65-F5344CB8AC3E}">
        <p14:creationId xmlns:p14="http://schemas.microsoft.com/office/powerpoint/2010/main" val="356870010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BA314B3A-DAFD-49F4-BC49-2E2A632A5DE4}"/>
              </a:ext>
            </a:extLst>
          </p:cNvPr>
          <p:cNvSpPr txBox="1">
            <a:spLocks/>
          </p:cNvSpPr>
          <p:nvPr/>
        </p:nvSpPr>
        <p:spPr>
          <a:xfrm>
            <a:off x="1289645" y="-48133"/>
            <a:ext cx="9883098" cy="8669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aftar Surat </a:t>
            </a:r>
            <a:r>
              <a:rPr kumimoji="0" 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Gangguan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PDN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7" name="Picture 6" descr="lgo sigap.png">
            <a:extLst>
              <a:ext uri="{FF2B5EF4-FFF2-40B4-BE49-F238E27FC236}">
                <a16:creationId xmlns:a16="http://schemas.microsoft.com/office/drawing/2014/main" id="{8AE23FBE-321A-A619-2D3A-8F1D6218FB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80320" y="391"/>
            <a:ext cx="2011459" cy="775531"/>
          </a:xfrm>
          <a:prstGeom prst="rect">
            <a:avLst/>
          </a:prstGeom>
        </p:spPr>
      </p:pic>
      <p:pic>
        <p:nvPicPr>
          <p:cNvPr id="12" name="Picture 11" descr="Text, logo&#10;&#10;Description automatically generated">
            <a:extLst>
              <a:ext uri="{FF2B5EF4-FFF2-40B4-BE49-F238E27FC236}">
                <a16:creationId xmlns:a16="http://schemas.microsoft.com/office/drawing/2014/main" id="{5BAB4473-CD67-BF02-298F-BB28E26E1F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434" y="23542"/>
            <a:ext cx="1615921" cy="614684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B25EC32E-EDE3-323E-C39C-0EA31C4856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DD83D7DD-CBEA-130C-8FB9-705650BFFC17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67A64BE0-290B-2170-78CC-DDD20DF3EACC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2DC88595-6E28-62BA-4323-E11EAB68FCAD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30" b="1" i="0" u="none" strike="noStrike" kern="1200" cap="none" spc="32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LEMBAGA PENGEMBANGAN JASA KONSTRUKSI</a:t>
                </a:r>
                <a:endParaRPr kumimoji="0" lang="en-ID" sz="1030" b="1" i="0" u="none" strike="noStrike" kern="1200" cap="none" spc="32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3CC1186C-23EB-601E-3790-99904146D55D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KEMENTERIAN PEKERJAAN UMUM DAN PERUMAHAN RAKYAT</a:t>
                </a:r>
                <a:endParaRPr kumimoji="0" lang="en-ID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endParaRPr>
              </a:p>
            </p:txBody>
          </p:sp>
        </p:grpSp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A5A6369E-5BDC-418C-7058-B32F40A937A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sp>
        <p:nvSpPr>
          <p:cNvPr id="79" name="Freeform 7">
            <a:extLst>
              <a:ext uri="{FF2B5EF4-FFF2-40B4-BE49-F238E27FC236}">
                <a16:creationId xmlns:a16="http://schemas.microsoft.com/office/drawing/2014/main" id="{8D901614-0146-FCE0-6200-50875CCC5FD2}"/>
              </a:ext>
            </a:extLst>
          </p:cNvPr>
          <p:cNvSpPr/>
          <p:nvPr/>
        </p:nvSpPr>
        <p:spPr>
          <a:xfrm>
            <a:off x="1222970" y="2891117"/>
            <a:ext cx="9826030" cy="686173"/>
          </a:xfrm>
          <a:custGeom>
            <a:avLst/>
            <a:gdLst>
              <a:gd name="connsiteX0" fmla="*/ 0 w 4566783"/>
              <a:gd name="connsiteY0" fmla="*/ 0 h 1427119"/>
              <a:gd name="connsiteX1" fmla="*/ 4566783 w 4566783"/>
              <a:gd name="connsiteY1" fmla="*/ 0 h 1427119"/>
              <a:gd name="connsiteX2" fmla="*/ 4566783 w 4566783"/>
              <a:gd name="connsiteY2" fmla="*/ 1427119 h 1427119"/>
              <a:gd name="connsiteX3" fmla="*/ 0 w 4566783"/>
              <a:gd name="connsiteY3" fmla="*/ 1427119 h 1427119"/>
              <a:gd name="connsiteX4" fmla="*/ 0 w 4566783"/>
              <a:gd name="connsiteY4" fmla="*/ 0 h 1427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6783" h="1427119">
                <a:moveTo>
                  <a:pt x="0" y="0"/>
                </a:moveTo>
                <a:lnTo>
                  <a:pt x="4566783" y="0"/>
                </a:lnTo>
                <a:lnTo>
                  <a:pt x="4566783" y="1427119"/>
                </a:lnTo>
                <a:lnTo>
                  <a:pt x="0" y="142711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66636" tIns="133350" rIns="133350" bIns="133350" numCol="1" spcCol="1270" anchor="ctr" anchorCtr="0">
            <a:noAutofit/>
          </a:bodyPr>
          <a:lstStyle/>
          <a:p>
            <a:pPr marL="0" marR="0" lvl="0" indent="0" algn="l" defTabSz="1555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at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tua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PJK No. BK 0401-Lk/541 </a:t>
            </a:r>
            <a:r>
              <a:rPr kumimoji="0" lang="nb-NO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l Pelayanan Sertifikasi Kompetensi Kerja Konstruksi Pada Masa Gangguan Layanan SIKI LPJK.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B6E60345-B9B9-3912-0F1C-ECDBA6065D20}"/>
              </a:ext>
            </a:extLst>
          </p:cNvPr>
          <p:cNvSpPr/>
          <p:nvPr/>
        </p:nvSpPr>
        <p:spPr>
          <a:xfrm>
            <a:off x="857590" y="2774579"/>
            <a:ext cx="1125231" cy="581025"/>
          </a:xfrm>
          <a:prstGeom prst="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tint val="50000"/>
              <a:hueOff val="2289505"/>
              <a:satOff val="-12031"/>
              <a:lumOff val="-871"/>
              <a:alphaOff val="0"/>
            </a:schemeClr>
          </a:fillRef>
          <a:effectRef idx="0">
            <a:schemeClr val="accent4">
              <a:tint val="50000"/>
              <a:hueOff val="2289505"/>
              <a:satOff val="-12031"/>
              <a:lumOff val="-871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Freeform 9">
            <a:extLst>
              <a:ext uri="{FF2B5EF4-FFF2-40B4-BE49-F238E27FC236}">
                <a16:creationId xmlns:a16="http://schemas.microsoft.com/office/drawing/2014/main" id="{BF436E87-C64F-1206-F370-556575726FAD}"/>
              </a:ext>
            </a:extLst>
          </p:cNvPr>
          <p:cNvSpPr/>
          <p:nvPr/>
        </p:nvSpPr>
        <p:spPr>
          <a:xfrm>
            <a:off x="1222970" y="1022864"/>
            <a:ext cx="9826030" cy="686173"/>
          </a:xfrm>
          <a:custGeom>
            <a:avLst/>
            <a:gdLst>
              <a:gd name="connsiteX0" fmla="*/ 0 w 4566783"/>
              <a:gd name="connsiteY0" fmla="*/ 0 h 1427119"/>
              <a:gd name="connsiteX1" fmla="*/ 4566783 w 4566783"/>
              <a:gd name="connsiteY1" fmla="*/ 0 h 1427119"/>
              <a:gd name="connsiteX2" fmla="*/ 4566783 w 4566783"/>
              <a:gd name="connsiteY2" fmla="*/ 1427119 h 1427119"/>
              <a:gd name="connsiteX3" fmla="*/ 0 w 4566783"/>
              <a:gd name="connsiteY3" fmla="*/ 1427119 h 1427119"/>
              <a:gd name="connsiteX4" fmla="*/ 0 w 4566783"/>
              <a:gd name="connsiteY4" fmla="*/ 0 h 1427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6783" h="1427119">
                <a:moveTo>
                  <a:pt x="0" y="0"/>
                </a:moveTo>
                <a:lnTo>
                  <a:pt x="4566783" y="0"/>
                </a:lnTo>
                <a:lnTo>
                  <a:pt x="4566783" y="1427119"/>
                </a:lnTo>
                <a:lnTo>
                  <a:pt x="0" y="142711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66636" tIns="133350" rIns="133350" bIns="133350" numCol="1" spcCol="1270" anchor="ctr" anchorCtr="0">
            <a:noAutofit/>
          </a:bodyPr>
          <a:lstStyle/>
          <a:p>
            <a:pPr marL="0" marR="0" lvl="0" indent="0" algn="l" defTabSz="1555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at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tua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PJK No. BK 0401-Lk/482 </a:t>
            </a:r>
            <a:r>
              <a:rPr kumimoji="0" lang="nb-NO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Hal Pelaksanaan Witness LSP Pada Masa Gangguan Layanan pada Aplikasi LPJK.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24C0BFE3-3C6E-7007-0195-86BCDA4E5B20}"/>
              </a:ext>
            </a:extLst>
          </p:cNvPr>
          <p:cNvSpPr/>
          <p:nvPr/>
        </p:nvSpPr>
        <p:spPr>
          <a:xfrm>
            <a:off x="857590" y="906325"/>
            <a:ext cx="1125231" cy="581025"/>
          </a:xfrm>
          <a:prstGeom prst="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tint val="50000"/>
              <a:hueOff val="4579010"/>
              <a:satOff val="-24062"/>
              <a:lumOff val="-1741"/>
              <a:alphaOff val="0"/>
            </a:schemeClr>
          </a:fillRef>
          <a:effectRef idx="0">
            <a:schemeClr val="accent4">
              <a:tint val="50000"/>
              <a:hueOff val="4579010"/>
              <a:satOff val="-24062"/>
              <a:lumOff val="-1741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Freeform 13">
            <a:extLst>
              <a:ext uri="{FF2B5EF4-FFF2-40B4-BE49-F238E27FC236}">
                <a16:creationId xmlns:a16="http://schemas.microsoft.com/office/drawing/2014/main" id="{704C5182-1484-AFD6-A926-E4B989AA6E9E}"/>
              </a:ext>
            </a:extLst>
          </p:cNvPr>
          <p:cNvSpPr/>
          <p:nvPr/>
        </p:nvSpPr>
        <p:spPr>
          <a:xfrm>
            <a:off x="1222970" y="1960658"/>
            <a:ext cx="9826030" cy="686173"/>
          </a:xfrm>
          <a:custGeom>
            <a:avLst/>
            <a:gdLst>
              <a:gd name="connsiteX0" fmla="*/ 0 w 4566783"/>
              <a:gd name="connsiteY0" fmla="*/ 0 h 1427119"/>
              <a:gd name="connsiteX1" fmla="*/ 4566783 w 4566783"/>
              <a:gd name="connsiteY1" fmla="*/ 0 h 1427119"/>
              <a:gd name="connsiteX2" fmla="*/ 4566783 w 4566783"/>
              <a:gd name="connsiteY2" fmla="*/ 1427119 h 1427119"/>
              <a:gd name="connsiteX3" fmla="*/ 0 w 4566783"/>
              <a:gd name="connsiteY3" fmla="*/ 1427119 h 1427119"/>
              <a:gd name="connsiteX4" fmla="*/ 0 w 4566783"/>
              <a:gd name="connsiteY4" fmla="*/ 0 h 1427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6783" h="1427119">
                <a:moveTo>
                  <a:pt x="0" y="0"/>
                </a:moveTo>
                <a:lnTo>
                  <a:pt x="4566783" y="0"/>
                </a:lnTo>
                <a:lnTo>
                  <a:pt x="4566783" y="1427119"/>
                </a:lnTo>
                <a:lnTo>
                  <a:pt x="0" y="142711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66636" tIns="133350" rIns="133350" bIns="133350" numCol="1" spcCol="1270" anchor="ctr" anchorCtr="0">
            <a:noAutofit/>
          </a:bodyPr>
          <a:lstStyle/>
          <a:p>
            <a:pPr marL="0" marR="0" lvl="0" indent="0" algn="l" defTabSz="1555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at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tua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PJK No. BK 0401-Lk/534 </a:t>
            </a:r>
            <a:r>
              <a:rPr kumimoji="0" lang="nb-NO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l Perpanjangan SBU/SKA/SKT Jasa Konstruksi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21861941-21C6-8450-91AA-76BAE07945E3}"/>
              </a:ext>
            </a:extLst>
          </p:cNvPr>
          <p:cNvSpPr/>
          <p:nvPr/>
        </p:nvSpPr>
        <p:spPr>
          <a:xfrm>
            <a:off x="857590" y="1844120"/>
            <a:ext cx="1125231" cy="581025"/>
          </a:xfrm>
          <a:prstGeom prst="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tint val="50000"/>
              <a:hueOff val="9158019"/>
              <a:satOff val="-48125"/>
              <a:lumOff val="-3482"/>
              <a:alphaOff val="0"/>
            </a:schemeClr>
          </a:fillRef>
          <a:effectRef idx="0">
            <a:schemeClr val="accent4">
              <a:tint val="50000"/>
              <a:hueOff val="9158019"/>
              <a:satOff val="-48125"/>
              <a:lumOff val="-3482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F297EB39-B688-872E-2077-F0CDE2AC6642}"/>
              </a:ext>
            </a:extLst>
          </p:cNvPr>
          <p:cNvSpPr txBox="1"/>
          <p:nvPr/>
        </p:nvSpPr>
        <p:spPr>
          <a:xfrm>
            <a:off x="1141101" y="809709"/>
            <a:ext cx="5582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.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7D4E42C0-6881-DFE1-813B-2E1BFFFBB56B}"/>
              </a:ext>
            </a:extLst>
          </p:cNvPr>
          <p:cNvSpPr txBox="1"/>
          <p:nvPr/>
        </p:nvSpPr>
        <p:spPr>
          <a:xfrm>
            <a:off x="1106857" y="1734107"/>
            <a:ext cx="5582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.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8B41077E-8B76-B934-907E-DB41EC8757C0}"/>
              </a:ext>
            </a:extLst>
          </p:cNvPr>
          <p:cNvSpPr txBox="1"/>
          <p:nvPr/>
        </p:nvSpPr>
        <p:spPr>
          <a:xfrm>
            <a:off x="1139288" y="2698782"/>
            <a:ext cx="5582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.</a:t>
            </a:r>
          </a:p>
        </p:txBody>
      </p:sp>
      <p:sp>
        <p:nvSpPr>
          <p:cNvPr id="23" name="Freeform 7">
            <a:extLst>
              <a:ext uri="{FF2B5EF4-FFF2-40B4-BE49-F238E27FC236}">
                <a16:creationId xmlns:a16="http://schemas.microsoft.com/office/drawing/2014/main" id="{1A861638-4047-42C8-B243-9B241CD70F73}"/>
              </a:ext>
            </a:extLst>
          </p:cNvPr>
          <p:cNvSpPr/>
          <p:nvPr/>
        </p:nvSpPr>
        <p:spPr>
          <a:xfrm>
            <a:off x="1222970" y="4776726"/>
            <a:ext cx="9826030" cy="686173"/>
          </a:xfrm>
          <a:custGeom>
            <a:avLst/>
            <a:gdLst>
              <a:gd name="connsiteX0" fmla="*/ 0 w 4566783"/>
              <a:gd name="connsiteY0" fmla="*/ 0 h 1427119"/>
              <a:gd name="connsiteX1" fmla="*/ 4566783 w 4566783"/>
              <a:gd name="connsiteY1" fmla="*/ 0 h 1427119"/>
              <a:gd name="connsiteX2" fmla="*/ 4566783 w 4566783"/>
              <a:gd name="connsiteY2" fmla="*/ 1427119 h 1427119"/>
              <a:gd name="connsiteX3" fmla="*/ 0 w 4566783"/>
              <a:gd name="connsiteY3" fmla="*/ 1427119 h 1427119"/>
              <a:gd name="connsiteX4" fmla="*/ 0 w 4566783"/>
              <a:gd name="connsiteY4" fmla="*/ 0 h 1427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6783" h="1427119">
                <a:moveTo>
                  <a:pt x="0" y="0"/>
                </a:moveTo>
                <a:lnTo>
                  <a:pt x="4566783" y="0"/>
                </a:lnTo>
                <a:lnTo>
                  <a:pt x="4566783" y="1427119"/>
                </a:lnTo>
                <a:lnTo>
                  <a:pt x="0" y="142711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66636" tIns="133350" rIns="133350" bIns="133350" numCol="1" spcCol="1270" anchor="ctr" anchorCtr="0">
            <a:noAutofit/>
          </a:bodyPr>
          <a:lstStyle/>
          <a:p>
            <a:pPr marL="0" marR="0" lvl="0" indent="0" algn="l" defTabSz="1555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at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tua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PJK No. BK 0401-Lk/562 Hal Uji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ba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yanan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PJK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tuk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izinan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rusaha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2A8037B-843A-4280-9BC1-9A010F04BC8B}"/>
              </a:ext>
            </a:extLst>
          </p:cNvPr>
          <p:cNvSpPr/>
          <p:nvPr/>
        </p:nvSpPr>
        <p:spPr>
          <a:xfrm>
            <a:off x="857590" y="4660188"/>
            <a:ext cx="1125231" cy="581025"/>
          </a:xfrm>
          <a:prstGeom prst="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tint val="50000"/>
              <a:hueOff val="2289505"/>
              <a:satOff val="-12031"/>
              <a:lumOff val="-871"/>
              <a:alphaOff val="0"/>
            </a:schemeClr>
          </a:fillRef>
          <a:effectRef idx="0">
            <a:schemeClr val="accent4">
              <a:tint val="50000"/>
              <a:hueOff val="2289505"/>
              <a:satOff val="-12031"/>
              <a:lumOff val="-871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Freeform 13">
            <a:extLst>
              <a:ext uri="{FF2B5EF4-FFF2-40B4-BE49-F238E27FC236}">
                <a16:creationId xmlns:a16="http://schemas.microsoft.com/office/drawing/2014/main" id="{5665A86A-EB45-481A-A38D-46426E9952B7}"/>
              </a:ext>
            </a:extLst>
          </p:cNvPr>
          <p:cNvSpPr/>
          <p:nvPr/>
        </p:nvSpPr>
        <p:spPr>
          <a:xfrm>
            <a:off x="1222970" y="3846267"/>
            <a:ext cx="9826030" cy="686173"/>
          </a:xfrm>
          <a:custGeom>
            <a:avLst/>
            <a:gdLst>
              <a:gd name="connsiteX0" fmla="*/ 0 w 4566783"/>
              <a:gd name="connsiteY0" fmla="*/ 0 h 1427119"/>
              <a:gd name="connsiteX1" fmla="*/ 4566783 w 4566783"/>
              <a:gd name="connsiteY1" fmla="*/ 0 h 1427119"/>
              <a:gd name="connsiteX2" fmla="*/ 4566783 w 4566783"/>
              <a:gd name="connsiteY2" fmla="*/ 1427119 h 1427119"/>
              <a:gd name="connsiteX3" fmla="*/ 0 w 4566783"/>
              <a:gd name="connsiteY3" fmla="*/ 1427119 h 1427119"/>
              <a:gd name="connsiteX4" fmla="*/ 0 w 4566783"/>
              <a:gd name="connsiteY4" fmla="*/ 0 h 1427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6783" h="1427119">
                <a:moveTo>
                  <a:pt x="0" y="0"/>
                </a:moveTo>
                <a:lnTo>
                  <a:pt x="4566783" y="0"/>
                </a:lnTo>
                <a:lnTo>
                  <a:pt x="4566783" y="1427119"/>
                </a:lnTo>
                <a:lnTo>
                  <a:pt x="0" y="142711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66636" tIns="133350" rIns="133350" bIns="133350" numCol="1" spcCol="1270" anchor="ctr" anchorCtr="0">
            <a:noAutofit/>
          </a:bodyPr>
          <a:lstStyle/>
          <a:p>
            <a:pPr marL="0" marR="0" lvl="0" indent="0" algn="l" defTabSz="1555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at </a:t>
            </a:r>
            <a:r>
              <a:rPr kumimoji="0" lang="en-US" sz="2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tua</a:t>
            </a: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PJK No. BK 0401-Lk/549 </a:t>
            </a:r>
            <a:r>
              <a:rPr kumimoji="0" lang="nb-NO" sz="2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Hal Pemberitahuan Operasional Layanan e-SIMPAN Terkait Dengan Gangguan Layanan Pusat Data Nasional 2</a:t>
            </a:r>
            <a:endParaRPr kumimoji="0" lang="en-US" sz="2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C83DB7F-FB31-43C9-B731-11C2DA4E2815}"/>
              </a:ext>
            </a:extLst>
          </p:cNvPr>
          <p:cNvSpPr/>
          <p:nvPr/>
        </p:nvSpPr>
        <p:spPr>
          <a:xfrm>
            <a:off x="857590" y="3729729"/>
            <a:ext cx="1125231" cy="581025"/>
          </a:xfrm>
          <a:prstGeom prst="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tint val="50000"/>
              <a:hueOff val="9158019"/>
              <a:satOff val="-48125"/>
              <a:lumOff val="-3482"/>
              <a:alphaOff val="0"/>
            </a:schemeClr>
          </a:fillRef>
          <a:effectRef idx="0">
            <a:schemeClr val="accent4">
              <a:tint val="50000"/>
              <a:hueOff val="9158019"/>
              <a:satOff val="-48125"/>
              <a:lumOff val="-3482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1E9008E-F0A3-40E4-AC02-A067E244E71C}"/>
              </a:ext>
            </a:extLst>
          </p:cNvPr>
          <p:cNvSpPr txBox="1"/>
          <p:nvPr/>
        </p:nvSpPr>
        <p:spPr>
          <a:xfrm>
            <a:off x="1139288" y="4584391"/>
            <a:ext cx="8435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D5872AC-7CAA-48AE-B37B-8CE5130AE2BB}"/>
              </a:ext>
            </a:extLst>
          </p:cNvPr>
          <p:cNvSpPr txBox="1"/>
          <p:nvPr/>
        </p:nvSpPr>
        <p:spPr>
          <a:xfrm>
            <a:off x="1135207" y="3701051"/>
            <a:ext cx="5582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.</a:t>
            </a:r>
          </a:p>
        </p:txBody>
      </p:sp>
      <p:sp>
        <p:nvSpPr>
          <p:cNvPr id="2" name="Freeform 7">
            <a:extLst>
              <a:ext uri="{FF2B5EF4-FFF2-40B4-BE49-F238E27FC236}">
                <a16:creationId xmlns:a16="http://schemas.microsoft.com/office/drawing/2014/main" id="{25241185-C067-15D2-181C-9EC48CB83D8C}"/>
              </a:ext>
            </a:extLst>
          </p:cNvPr>
          <p:cNvSpPr/>
          <p:nvPr/>
        </p:nvSpPr>
        <p:spPr>
          <a:xfrm>
            <a:off x="1222970" y="5612905"/>
            <a:ext cx="9826030" cy="686173"/>
          </a:xfrm>
          <a:custGeom>
            <a:avLst/>
            <a:gdLst>
              <a:gd name="connsiteX0" fmla="*/ 0 w 4566783"/>
              <a:gd name="connsiteY0" fmla="*/ 0 h 1427119"/>
              <a:gd name="connsiteX1" fmla="*/ 4566783 w 4566783"/>
              <a:gd name="connsiteY1" fmla="*/ 0 h 1427119"/>
              <a:gd name="connsiteX2" fmla="*/ 4566783 w 4566783"/>
              <a:gd name="connsiteY2" fmla="*/ 1427119 h 1427119"/>
              <a:gd name="connsiteX3" fmla="*/ 0 w 4566783"/>
              <a:gd name="connsiteY3" fmla="*/ 1427119 h 1427119"/>
              <a:gd name="connsiteX4" fmla="*/ 0 w 4566783"/>
              <a:gd name="connsiteY4" fmla="*/ 0 h 1427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6783" h="1427119">
                <a:moveTo>
                  <a:pt x="0" y="0"/>
                </a:moveTo>
                <a:lnTo>
                  <a:pt x="4566783" y="0"/>
                </a:lnTo>
                <a:lnTo>
                  <a:pt x="4566783" y="1427119"/>
                </a:lnTo>
                <a:lnTo>
                  <a:pt x="0" y="142711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66636" tIns="133350" rIns="133350" bIns="133350" numCol="1" spcCol="1270" anchor="ctr" anchorCtr="0">
            <a:noAutofit/>
          </a:bodyPr>
          <a:lstStyle/>
          <a:p>
            <a:pPr marL="0" marR="0" lvl="0" indent="0" algn="l" defTabSz="1555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at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tua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PJK No. BK 0401-Lk/563 Hal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mberitahuan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yanan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panjangan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BU/SKA/SKT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k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PJK Masa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isi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443B7CB-61B7-02A8-E886-2D5B850B3E23}"/>
              </a:ext>
            </a:extLst>
          </p:cNvPr>
          <p:cNvSpPr/>
          <p:nvPr/>
        </p:nvSpPr>
        <p:spPr>
          <a:xfrm>
            <a:off x="857590" y="5496367"/>
            <a:ext cx="1125231" cy="581025"/>
          </a:xfrm>
          <a:prstGeom prst="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tint val="50000"/>
              <a:hueOff val="2289505"/>
              <a:satOff val="-12031"/>
              <a:lumOff val="-871"/>
              <a:alphaOff val="0"/>
            </a:schemeClr>
          </a:fillRef>
          <a:effectRef idx="0">
            <a:schemeClr val="accent4">
              <a:tint val="50000"/>
              <a:hueOff val="2289505"/>
              <a:satOff val="-12031"/>
              <a:lumOff val="-871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7A4F164-552F-8681-FDE5-390CB5C2BE42}"/>
              </a:ext>
            </a:extLst>
          </p:cNvPr>
          <p:cNvSpPr txBox="1"/>
          <p:nvPr/>
        </p:nvSpPr>
        <p:spPr>
          <a:xfrm>
            <a:off x="1139288" y="5420570"/>
            <a:ext cx="8435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.</a:t>
            </a:r>
          </a:p>
        </p:txBody>
      </p:sp>
    </p:spTree>
    <p:extLst>
      <p:ext uri="{BB962C8B-B14F-4D97-AF65-F5344CB8AC3E}">
        <p14:creationId xmlns:p14="http://schemas.microsoft.com/office/powerpoint/2010/main" val="24071437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BA314B3A-DAFD-49F4-BC49-2E2A632A5DE4}"/>
              </a:ext>
            </a:extLst>
          </p:cNvPr>
          <p:cNvSpPr txBox="1">
            <a:spLocks/>
          </p:cNvSpPr>
          <p:nvPr/>
        </p:nvSpPr>
        <p:spPr>
          <a:xfrm>
            <a:off x="1289645" y="-48133"/>
            <a:ext cx="9883098" cy="8669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aftar Surat </a:t>
            </a:r>
            <a:r>
              <a:rPr kumimoji="0" 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Gangguan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35487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PDN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7" name="Picture 6" descr="lgo sigap.png">
            <a:extLst>
              <a:ext uri="{FF2B5EF4-FFF2-40B4-BE49-F238E27FC236}">
                <a16:creationId xmlns:a16="http://schemas.microsoft.com/office/drawing/2014/main" id="{8AE23FBE-321A-A619-2D3A-8F1D6218FB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80320" y="391"/>
            <a:ext cx="2011459" cy="775531"/>
          </a:xfrm>
          <a:prstGeom prst="rect">
            <a:avLst/>
          </a:prstGeom>
        </p:spPr>
      </p:pic>
      <p:pic>
        <p:nvPicPr>
          <p:cNvPr id="12" name="Picture 11" descr="Text, logo&#10;&#10;Description automatically generated">
            <a:extLst>
              <a:ext uri="{FF2B5EF4-FFF2-40B4-BE49-F238E27FC236}">
                <a16:creationId xmlns:a16="http://schemas.microsoft.com/office/drawing/2014/main" id="{5BAB4473-CD67-BF02-298F-BB28E26E1F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434" y="23542"/>
            <a:ext cx="1615921" cy="614684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B25EC32E-EDE3-323E-C39C-0EA31C4856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DD83D7DD-CBEA-130C-8FB9-705650BFFC17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67A64BE0-290B-2170-78CC-DDD20DF3EACC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2DC88595-6E28-62BA-4323-E11EAB68FCAD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30" b="1" i="0" u="none" strike="noStrike" kern="1200" cap="none" spc="32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LEMBAGA PENGEMBANGAN JASA KONSTRUKSI</a:t>
                </a:r>
                <a:endParaRPr kumimoji="0" lang="en-ID" sz="1030" b="1" i="0" u="none" strike="noStrike" kern="1200" cap="none" spc="32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3CC1186C-23EB-601E-3790-99904146D55D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KEMENTERIAN PEKERJAAN UMUM DAN PERUMAHAN RAKYAT</a:t>
                </a:r>
                <a:endParaRPr kumimoji="0" lang="en-ID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endParaRPr>
              </a:p>
            </p:txBody>
          </p:sp>
        </p:grpSp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A5A6369E-5BDC-418C-7058-B32F40A937A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sp>
        <p:nvSpPr>
          <p:cNvPr id="79" name="Freeform 7">
            <a:extLst>
              <a:ext uri="{FF2B5EF4-FFF2-40B4-BE49-F238E27FC236}">
                <a16:creationId xmlns:a16="http://schemas.microsoft.com/office/drawing/2014/main" id="{8D901614-0146-FCE0-6200-50875CCC5FD2}"/>
              </a:ext>
            </a:extLst>
          </p:cNvPr>
          <p:cNvSpPr/>
          <p:nvPr/>
        </p:nvSpPr>
        <p:spPr>
          <a:xfrm>
            <a:off x="1222970" y="3751023"/>
            <a:ext cx="9826030" cy="686173"/>
          </a:xfrm>
          <a:custGeom>
            <a:avLst/>
            <a:gdLst>
              <a:gd name="connsiteX0" fmla="*/ 0 w 4566783"/>
              <a:gd name="connsiteY0" fmla="*/ 0 h 1427119"/>
              <a:gd name="connsiteX1" fmla="*/ 4566783 w 4566783"/>
              <a:gd name="connsiteY1" fmla="*/ 0 h 1427119"/>
              <a:gd name="connsiteX2" fmla="*/ 4566783 w 4566783"/>
              <a:gd name="connsiteY2" fmla="*/ 1427119 h 1427119"/>
              <a:gd name="connsiteX3" fmla="*/ 0 w 4566783"/>
              <a:gd name="connsiteY3" fmla="*/ 1427119 h 1427119"/>
              <a:gd name="connsiteX4" fmla="*/ 0 w 4566783"/>
              <a:gd name="connsiteY4" fmla="*/ 0 h 1427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6783" h="1427119">
                <a:moveTo>
                  <a:pt x="0" y="0"/>
                </a:moveTo>
                <a:lnTo>
                  <a:pt x="4566783" y="0"/>
                </a:lnTo>
                <a:lnTo>
                  <a:pt x="4566783" y="1427119"/>
                </a:lnTo>
                <a:lnTo>
                  <a:pt x="0" y="142711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66636" tIns="133350" rIns="133350" bIns="133350" numCol="1" spcCol="1270" anchor="ctr" anchorCtr="0">
            <a:noAutofit/>
          </a:bodyPr>
          <a:lstStyle/>
          <a:p>
            <a:pPr marL="0" marR="0" lvl="0" indent="0" algn="l" defTabSz="1555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at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tua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PJK No. BK 0401-Lk/600 </a:t>
            </a:r>
            <a:r>
              <a:rPr kumimoji="0" lang="nb-NO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Hal Perpanjangan Proses Permohonan Akreditasi Asosiasi Jasa Konstruksi Batch 11 / tahap II Tahun 2024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B6E60345-B9B9-3912-0F1C-ECDBA6065D20}"/>
              </a:ext>
            </a:extLst>
          </p:cNvPr>
          <p:cNvSpPr/>
          <p:nvPr/>
        </p:nvSpPr>
        <p:spPr>
          <a:xfrm>
            <a:off x="857590" y="3634485"/>
            <a:ext cx="1125231" cy="581025"/>
          </a:xfrm>
          <a:prstGeom prst="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tint val="50000"/>
              <a:hueOff val="2289505"/>
              <a:satOff val="-12031"/>
              <a:lumOff val="-871"/>
              <a:alphaOff val="0"/>
            </a:schemeClr>
          </a:fillRef>
          <a:effectRef idx="0">
            <a:schemeClr val="accent4">
              <a:tint val="50000"/>
              <a:hueOff val="2289505"/>
              <a:satOff val="-12031"/>
              <a:lumOff val="-871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Freeform 9">
            <a:extLst>
              <a:ext uri="{FF2B5EF4-FFF2-40B4-BE49-F238E27FC236}">
                <a16:creationId xmlns:a16="http://schemas.microsoft.com/office/drawing/2014/main" id="{BF436E87-C64F-1206-F370-556575726FAD}"/>
              </a:ext>
            </a:extLst>
          </p:cNvPr>
          <p:cNvSpPr/>
          <p:nvPr/>
        </p:nvSpPr>
        <p:spPr>
          <a:xfrm>
            <a:off x="1222970" y="1882770"/>
            <a:ext cx="9826030" cy="686173"/>
          </a:xfrm>
          <a:custGeom>
            <a:avLst/>
            <a:gdLst>
              <a:gd name="connsiteX0" fmla="*/ 0 w 4566783"/>
              <a:gd name="connsiteY0" fmla="*/ 0 h 1427119"/>
              <a:gd name="connsiteX1" fmla="*/ 4566783 w 4566783"/>
              <a:gd name="connsiteY1" fmla="*/ 0 h 1427119"/>
              <a:gd name="connsiteX2" fmla="*/ 4566783 w 4566783"/>
              <a:gd name="connsiteY2" fmla="*/ 1427119 h 1427119"/>
              <a:gd name="connsiteX3" fmla="*/ 0 w 4566783"/>
              <a:gd name="connsiteY3" fmla="*/ 1427119 h 1427119"/>
              <a:gd name="connsiteX4" fmla="*/ 0 w 4566783"/>
              <a:gd name="connsiteY4" fmla="*/ 0 h 1427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6783" h="1427119">
                <a:moveTo>
                  <a:pt x="0" y="0"/>
                </a:moveTo>
                <a:lnTo>
                  <a:pt x="4566783" y="0"/>
                </a:lnTo>
                <a:lnTo>
                  <a:pt x="4566783" y="1427119"/>
                </a:lnTo>
                <a:lnTo>
                  <a:pt x="0" y="142711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66636" tIns="133350" rIns="133350" bIns="133350" numCol="1" spcCol="1270" anchor="ctr" anchorCtr="0">
            <a:noAutofit/>
          </a:bodyPr>
          <a:lstStyle/>
          <a:p>
            <a:pPr marL="0" marR="0" lvl="0" indent="0" algn="l" defTabSz="1555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at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tua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PJK No. BK 0401-Lk/591 Hal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panjanga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sens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embaga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tifikas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adan Usaha (LSBU) Yang Akan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bis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asa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rlakunya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i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hu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024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24C0BFE3-3C6E-7007-0195-86BCDA4E5B20}"/>
              </a:ext>
            </a:extLst>
          </p:cNvPr>
          <p:cNvSpPr/>
          <p:nvPr/>
        </p:nvSpPr>
        <p:spPr>
          <a:xfrm>
            <a:off x="857590" y="1766231"/>
            <a:ext cx="1125231" cy="581025"/>
          </a:xfrm>
          <a:prstGeom prst="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tint val="50000"/>
              <a:hueOff val="4579010"/>
              <a:satOff val="-24062"/>
              <a:lumOff val="-1741"/>
              <a:alphaOff val="0"/>
            </a:schemeClr>
          </a:fillRef>
          <a:effectRef idx="0">
            <a:schemeClr val="accent4">
              <a:tint val="50000"/>
              <a:hueOff val="4579010"/>
              <a:satOff val="-24062"/>
              <a:lumOff val="-1741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Freeform 13">
            <a:extLst>
              <a:ext uri="{FF2B5EF4-FFF2-40B4-BE49-F238E27FC236}">
                <a16:creationId xmlns:a16="http://schemas.microsoft.com/office/drawing/2014/main" id="{704C5182-1484-AFD6-A926-E4B989AA6E9E}"/>
              </a:ext>
            </a:extLst>
          </p:cNvPr>
          <p:cNvSpPr/>
          <p:nvPr/>
        </p:nvSpPr>
        <p:spPr>
          <a:xfrm>
            <a:off x="1222970" y="2820564"/>
            <a:ext cx="9826030" cy="686173"/>
          </a:xfrm>
          <a:custGeom>
            <a:avLst/>
            <a:gdLst>
              <a:gd name="connsiteX0" fmla="*/ 0 w 4566783"/>
              <a:gd name="connsiteY0" fmla="*/ 0 h 1427119"/>
              <a:gd name="connsiteX1" fmla="*/ 4566783 w 4566783"/>
              <a:gd name="connsiteY1" fmla="*/ 0 h 1427119"/>
              <a:gd name="connsiteX2" fmla="*/ 4566783 w 4566783"/>
              <a:gd name="connsiteY2" fmla="*/ 1427119 h 1427119"/>
              <a:gd name="connsiteX3" fmla="*/ 0 w 4566783"/>
              <a:gd name="connsiteY3" fmla="*/ 1427119 h 1427119"/>
              <a:gd name="connsiteX4" fmla="*/ 0 w 4566783"/>
              <a:gd name="connsiteY4" fmla="*/ 0 h 1427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6783" h="1427119">
                <a:moveTo>
                  <a:pt x="0" y="0"/>
                </a:moveTo>
                <a:lnTo>
                  <a:pt x="4566783" y="0"/>
                </a:lnTo>
                <a:lnTo>
                  <a:pt x="4566783" y="1427119"/>
                </a:lnTo>
                <a:lnTo>
                  <a:pt x="0" y="142711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66636" tIns="133350" rIns="133350" bIns="133350" numCol="1" spcCol="1270" anchor="ctr" anchorCtr="0">
            <a:noAutofit/>
          </a:bodyPr>
          <a:lstStyle/>
          <a:p>
            <a:pPr marL="0" marR="0" lvl="0" indent="0" algn="l" defTabSz="1555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at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tua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PJK No. BK 0401-Lk/596 </a:t>
            </a:r>
            <a:r>
              <a:rPr kumimoji="0" lang="nb-NO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Hal Perpanjangan Lisensi Lembaga Sertifikasi Badan Usaha (LSBU) Yang Akan Habis Masa Berlakunya di Tahun 2024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21861941-21C6-8450-91AA-76BAE07945E3}"/>
              </a:ext>
            </a:extLst>
          </p:cNvPr>
          <p:cNvSpPr/>
          <p:nvPr/>
        </p:nvSpPr>
        <p:spPr>
          <a:xfrm>
            <a:off x="857590" y="2704026"/>
            <a:ext cx="1125231" cy="581025"/>
          </a:xfrm>
          <a:prstGeom prst="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tint val="50000"/>
              <a:hueOff val="9158019"/>
              <a:satOff val="-48125"/>
              <a:lumOff val="-3482"/>
              <a:alphaOff val="0"/>
            </a:schemeClr>
          </a:fillRef>
          <a:effectRef idx="0">
            <a:schemeClr val="accent4">
              <a:tint val="50000"/>
              <a:hueOff val="9158019"/>
              <a:satOff val="-48125"/>
              <a:lumOff val="-3482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F297EB39-B688-872E-2077-F0CDE2AC6642}"/>
              </a:ext>
            </a:extLst>
          </p:cNvPr>
          <p:cNvSpPr txBox="1"/>
          <p:nvPr/>
        </p:nvSpPr>
        <p:spPr>
          <a:xfrm>
            <a:off x="1141101" y="1669615"/>
            <a:ext cx="7732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.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7D4E42C0-6881-DFE1-813B-2E1BFFFBB56B}"/>
              </a:ext>
            </a:extLst>
          </p:cNvPr>
          <p:cNvSpPr txBox="1"/>
          <p:nvPr/>
        </p:nvSpPr>
        <p:spPr>
          <a:xfrm>
            <a:off x="1106857" y="2594013"/>
            <a:ext cx="8759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.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8B41077E-8B76-B934-907E-DB41EC8757C0}"/>
              </a:ext>
            </a:extLst>
          </p:cNvPr>
          <p:cNvSpPr txBox="1"/>
          <p:nvPr/>
        </p:nvSpPr>
        <p:spPr>
          <a:xfrm>
            <a:off x="1139288" y="3558688"/>
            <a:ext cx="7750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</a:t>
            </a:r>
          </a:p>
        </p:txBody>
      </p:sp>
      <p:sp>
        <p:nvSpPr>
          <p:cNvPr id="25" name="Freeform 13">
            <a:extLst>
              <a:ext uri="{FF2B5EF4-FFF2-40B4-BE49-F238E27FC236}">
                <a16:creationId xmlns:a16="http://schemas.microsoft.com/office/drawing/2014/main" id="{5665A86A-EB45-481A-A38D-46426E9952B7}"/>
              </a:ext>
            </a:extLst>
          </p:cNvPr>
          <p:cNvSpPr/>
          <p:nvPr/>
        </p:nvSpPr>
        <p:spPr>
          <a:xfrm>
            <a:off x="1222970" y="4706173"/>
            <a:ext cx="9826030" cy="904558"/>
          </a:xfrm>
          <a:custGeom>
            <a:avLst/>
            <a:gdLst>
              <a:gd name="connsiteX0" fmla="*/ 0 w 4566783"/>
              <a:gd name="connsiteY0" fmla="*/ 0 h 1427119"/>
              <a:gd name="connsiteX1" fmla="*/ 4566783 w 4566783"/>
              <a:gd name="connsiteY1" fmla="*/ 0 h 1427119"/>
              <a:gd name="connsiteX2" fmla="*/ 4566783 w 4566783"/>
              <a:gd name="connsiteY2" fmla="*/ 1427119 h 1427119"/>
              <a:gd name="connsiteX3" fmla="*/ 0 w 4566783"/>
              <a:gd name="connsiteY3" fmla="*/ 1427119 h 1427119"/>
              <a:gd name="connsiteX4" fmla="*/ 0 w 4566783"/>
              <a:gd name="connsiteY4" fmla="*/ 0 h 1427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6783" h="1427119">
                <a:moveTo>
                  <a:pt x="0" y="0"/>
                </a:moveTo>
                <a:lnTo>
                  <a:pt x="4566783" y="0"/>
                </a:lnTo>
                <a:lnTo>
                  <a:pt x="4566783" y="1427119"/>
                </a:lnTo>
                <a:lnTo>
                  <a:pt x="0" y="142711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66636" tIns="133350" rIns="133350" bIns="133350" numCol="1" spcCol="1270" anchor="ctr" anchorCtr="0">
            <a:noAutofit/>
          </a:bodyPr>
          <a:lstStyle/>
          <a:p>
            <a:pPr marL="0" marR="0" lvl="0" indent="0" algn="l" defTabSz="1555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at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tua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PJK No. BK 0401-Lk/605 </a:t>
            </a:r>
            <a:r>
              <a:rPr kumimoji="0" lang="nb-NO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Hal Perpanjangan Status Akreditasi Asosiasi Jasa Konstruksi yang telah ditetapkan dengan Kepmen PUPR Nomor 1410/KPTS/M/2020 dan Akan Habis Masa Berlakunya di Tahun 2024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C83DB7F-FB31-43C9-B731-11C2DA4E2815}"/>
              </a:ext>
            </a:extLst>
          </p:cNvPr>
          <p:cNvSpPr/>
          <p:nvPr/>
        </p:nvSpPr>
        <p:spPr>
          <a:xfrm>
            <a:off x="857590" y="4589635"/>
            <a:ext cx="1125231" cy="581025"/>
          </a:xfrm>
          <a:prstGeom prst="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tint val="50000"/>
              <a:hueOff val="9158019"/>
              <a:satOff val="-48125"/>
              <a:lumOff val="-3482"/>
              <a:alphaOff val="0"/>
            </a:schemeClr>
          </a:fillRef>
          <a:effectRef idx="0">
            <a:schemeClr val="accent4">
              <a:tint val="50000"/>
              <a:hueOff val="9158019"/>
              <a:satOff val="-48125"/>
              <a:lumOff val="-3482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D5872AC-7CAA-48AE-B37B-8CE5130AE2BB}"/>
              </a:ext>
            </a:extLst>
          </p:cNvPr>
          <p:cNvSpPr txBox="1"/>
          <p:nvPr/>
        </p:nvSpPr>
        <p:spPr>
          <a:xfrm>
            <a:off x="1135207" y="4560957"/>
            <a:ext cx="7791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6.</a:t>
            </a:r>
          </a:p>
        </p:txBody>
      </p:sp>
      <p:sp>
        <p:nvSpPr>
          <p:cNvPr id="32" name="Freeform 9">
            <a:extLst>
              <a:ext uri="{FF2B5EF4-FFF2-40B4-BE49-F238E27FC236}">
                <a16:creationId xmlns:a16="http://schemas.microsoft.com/office/drawing/2014/main" id="{B515E3FD-CE0C-4FB2-9B7D-4E524B713278}"/>
              </a:ext>
            </a:extLst>
          </p:cNvPr>
          <p:cNvSpPr/>
          <p:nvPr/>
        </p:nvSpPr>
        <p:spPr>
          <a:xfrm>
            <a:off x="1222970" y="1022864"/>
            <a:ext cx="9826030" cy="686173"/>
          </a:xfrm>
          <a:custGeom>
            <a:avLst/>
            <a:gdLst>
              <a:gd name="connsiteX0" fmla="*/ 0 w 4566783"/>
              <a:gd name="connsiteY0" fmla="*/ 0 h 1427119"/>
              <a:gd name="connsiteX1" fmla="*/ 4566783 w 4566783"/>
              <a:gd name="connsiteY1" fmla="*/ 0 h 1427119"/>
              <a:gd name="connsiteX2" fmla="*/ 4566783 w 4566783"/>
              <a:gd name="connsiteY2" fmla="*/ 1427119 h 1427119"/>
              <a:gd name="connsiteX3" fmla="*/ 0 w 4566783"/>
              <a:gd name="connsiteY3" fmla="*/ 1427119 h 1427119"/>
              <a:gd name="connsiteX4" fmla="*/ 0 w 4566783"/>
              <a:gd name="connsiteY4" fmla="*/ 0 h 1427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6783" h="1427119">
                <a:moveTo>
                  <a:pt x="0" y="0"/>
                </a:moveTo>
                <a:lnTo>
                  <a:pt x="4566783" y="0"/>
                </a:lnTo>
                <a:lnTo>
                  <a:pt x="4566783" y="1427119"/>
                </a:lnTo>
                <a:lnTo>
                  <a:pt x="0" y="142711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4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66636" tIns="133350" rIns="133350" bIns="133350" numCol="1" spcCol="1270" anchor="ctr" anchorCtr="0">
            <a:noAutofit/>
          </a:bodyPr>
          <a:lstStyle/>
          <a:p>
            <a:pPr marL="0" marR="0" lvl="0" indent="0" algn="l" defTabSz="1555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at 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tua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PJK No. BK 0401-Lk/587 </a:t>
            </a:r>
            <a:r>
              <a:rPr kumimoji="0" lang="nb-NO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Hal </a:t>
            </a:r>
            <a:r>
              <a:rPr kumimoji="0" lang="fi-FI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Pemberitahuan Pelaksanaan Sertifikasi Kompetensi Kerja Konstruksi dan Sertifikasi Badan Usaha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D22CF36-13F6-49C5-85EB-073A0B1CFF52}"/>
              </a:ext>
            </a:extLst>
          </p:cNvPr>
          <p:cNvSpPr/>
          <p:nvPr/>
        </p:nvSpPr>
        <p:spPr>
          <a:xfrm>
            <a:off x="857590" y="906325"/>
            <a:ext cx="1125231" cy="581025"/>
          </a:xfrm>
          <a:prstGeom prst="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tint val="50000"/>
              <a:hueOff val="4579010"/>
              <a:satOff val="-24062"/>
              <a:lumOff val="-1741"/>
              <a:alphaOff val="0"/>
            </a:schemeClr>
          </a:fillRef>
          <a:effectRef idx="0">
            <a:schemeClr val="accent4">
              <a:tint val="50000"/>
              <a:hueOff val="4579010"/>
              <a:satOff val="-24062"/>
              <a:lumOff val="-1741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0E0E4AC-E9A7-4B5C-AAC6-539E55E14C92}"/>
              </a:ext>
            </a:extLst>
          </p:cNvPr>
          <p:cNvSpPr txBox="1"/>
          <p:nvPr/>
        </p:nvSpPr>
        <p:spPr>
          <a:xfrm>
            <a:off x="1141101" y="809709"/>
            <a:ext cx="7732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.</a:t>
            </a:r>
          </a:p>
        </p:txBody>
      </p:sp>
    </p:spTree>
    <p:extLst>
      <p:ext uri="{BB962C8B-B14F-4D97-AF65-F5344CB8AC3E}">
        <p14:creationId xmlns:p14="http://schemas.microsoft.com/office/powerpoint/2010/main" val="414792708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C43AFF8-798B-385F-7529-303042714E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32516" y="1374423"/>
            <a:ext cx="2837623" cy="405234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ED1692D-3007-57EA-9AEF-997E23E66AF3}"/>
              </a:ext>
            </a:extLst>
          </p:cNvPr>
          <p:cNvSpPr txBox="1"/>
          <p:nvPr/>
        </p:nvSpPr>
        <p:spPr>
          <a:xfrm>
            <a:off x="421861" y="1357437"/>
            <a:ext cx="8259419" cy="11272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  <a:spcAft>
                <a:spcPts val="600"/>
              </a:spcAft>
            </a:pPr>
            <a:r>
              <a:rPr lang="fi-FI" sz="1500" b="1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da tanggal 20 Juni 2024 pukul 04.15 WIB, PDNs 2 mengalami gangguan </a:t>
            </a:r>
            <a:r>
              <a:rPr lang="fi-FI" sz="15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rdasarkan surat </a:t>
            </a:r>
            <a:r>
              <a:rPr lang="fi-FI" sz="15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lt</a:t>
            </a:r>
            <a:r>
              <a:rPr lang="fi-FI" sz="15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r>
              <a:rPr lang="fi-FI" sz="15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rektur</a:t>
            </a:r>
            <a:r>
              <a:rPr lang="fi-FI" sz="15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Layanan Aplikasi Informatika Pemerintahan Nomor </a:t>
            </a:r>
            <a:r>
              <a:rPr lang="it-IT" sz="15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.697/DJAI.3/AI.01.01/06/2024 tanggal 20 Juni 2024 </a:t>
            </a:r>
            <a:r>
              <a:rPr lang="fi-FI" sz="1500" b="1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yang berdampak pada </a:t>
            </a:r>
            <a:r>
              <a:rPr lang="fi-FI" sz="1500" b="1" dirty="0">
                <a:solidFill>
                  <a:srgbClr val="174A9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luruh sistem Layanan LPJK tidak dapat beroperasi</a:t>
            </a:r>
            <a:r>
              <a:rPr lang="fi-FI" sz="1500" b="1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antara lain:</a:t>
            </a:r>
            <a:endParaRPr lang="en-ID" sz="1500" b="1" dirty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C35A481-8DD1-D97D-1007-CA04F6359FCB}"/>
              </a:ext>
            </a:extLst>
          </p:cNvPr>
          <p:cNvSpPr txBox="1"/>
          <p:nvPr/>
        </p:nvSpPr>
        <p:spPr>
          <a:xfrm>
            <a:off x="676962" y="2583833"/>
            <a:ext cx="8129936" cy="31817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Font typeface="+mj-lt"/>
              <a:buAutoNum type="alphaLcPeriod"/>
            </a:pPr>
            <a:r>
              <a:rPr lang="nb-NO" sz="1500" dirty="0" err="1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likasi</a:t>
            </a:r>
            <a:r>
              <a:rPr lang="nb-NO" sz="1500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e-</a:t>
            </a:r>
            <a:r>
              <a:rPr lang="nb-NO" sz="1500" dirty="0" err="1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impan</a:t>
            </a:r>
            <a:r>
              <a:rPr lang="nb-NO" sz="1500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</a:t>
            </a:r>
            <a:r>
              <a:rPr lang="nb-NO" sz="1500" dirty="0" err="1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ncatatan</a:t>
            </a:r>
            <a:r>
              <a:rPr lang="nb-NO" sz="1500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nb-NO" sz="1500" dirty="0" err="1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ngalaman</a:t>
            </a:r>
            <a:r>
              <a:rPr lang="nb-NO" sz="1500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nb-NO" sz="1500" dirty="0" err="1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dan</a:t>
            </a:r>
            <a:r>
              <a:rPr lang="nb-NO" sz="1500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nb-NO" sz="1500" dirty="0" err="1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saha</a:t>
            </a:r>
            <a:r>
              <a:rPr lang="nb-NO" sz="1500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/</a:t>
            </a:r>
            <a:r>
              <a:rPr lang="nb-NO" sz="1500" dirty="0" err="1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naga</a:t>
            </a:r>
            <a:r>
              <a:rPr lang="nb-NO" sz="1500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nb-NO" sz="1500" dirty="0" err="1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rja</a:t>
            </a:r>
            <a:r>
              <a:rPr lang="nb-NO" sz="1500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nb-NO" sz="1500" dirty="0" err="1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r>
              <a:rPr lang="nb-NO" sz="1500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;</a:t>
            </a:r>
            <a:endParaRPr lang="en-ID" sz="1500" dirty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Font typeface="+mj-lt"/>
              <a:buAutoNum type="alphaLcPeriod"/>
            </a:pPr>
            <a:r>
              <a:rPr lang="nb-NO" sz="1500" dirty="0" err="1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akontrust</a:t>
            </a:r>
            <a:r>
              <a:rPr lang="nb-NO" sz="1500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pengecekan keabsahan SBU/SKK);</a:t>
            </a:r>
            <a:endParaRPr lang="en-ID" sz="1500" dirty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Font typeface="+mj-lt"/>
              <a:buAutoNum type="alphaLcPeriod"/>
            </a:pPr>
            <a:r>
              <a:rPr lang="nb-NO" sz="1500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 LPJK (klarifikasi keabsahan dan proses SBU/SKK);</a:t>
            </a:r>
            <a:endParaRPr lang="en-ID" sz="1500" dirty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Font typeface="+mj-lt"/>
              <a:buAutoNum type="alphaLcPeriod"/>
            </a:pPr>
            <a:r>
              <a:rPr lang="nb-NO" sz="1500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kreditasi (akreditasi Asosiasi Jasa Konstruksi);</a:t>
            </a:r>
            <a:endParaRPr lang="en-ID" sz="1500" dirty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Font typeface="+mj-lt"/>
              <a:buAutoNum type="alphaLcPeriod"/>
            </a:pPr>
            <a:r>
              <a:rPr lang="nb-NO" sz="1500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sensi (lisensi LSBU dan rekomendasi Lisensi LSP);</a:t>
            </a:r>
            <a:endParaRPr lang="en-ID" sz="1500" dirty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Font typeface="+mj-lt"/>
              <a:buAutoNum type="alphaLcPeriod"/>
            </a:pPr>
            <a:r>
              <a:rPr lang="nb-NO" sz="1500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IKI (pencarian SBU/SKK, PKB, TKKA, Penilai Ahli, Pencatatan Asosiasi, Registrasi LPPK, LaporBapak, perubahan Tenaga Kerja, Reset akun dan ganti email TKK);</a:t>
            </a:r>
            <a:endParaRPr lang="en-ID" sz="1500" dirty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lvl="0" indent="-342900" algn="just">
              <a:lnSpc>
                <a:spcPct val="115000"/>
              </a:lnSpc>
              <a:buFont typeface="+mj-lt"/>
              <a:buAutoNum type="alphaLcPeriod"/>
            </a:pPr>
            <a:r>
              <a:rPr lang="en-US" sz="1500" dirty="0" err="1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ukungan</a:t>
            </a:r>
            <a:r>
              <a:rPr lang="en-US" sz="1500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ata </a:t>
            </a:r>
            <a:r>
              <a:rPr lang="en-US" sz="1500" dirty="0" err="1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yanan</a:t>
            </a:r>
            <a:r>
              <a:rPr lang="en-US" sz="1500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500" dirty="0" err="1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mohonan</a:t>
            </a:r>
            <a:r>
              <a:rPr lang="en-US" sz="1500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BU/SKK pada Portal </a:t>
            </a:r>
            <a:r>
              <a:rPr lang="en-US" sz="1500" dirty="0" err="1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izinan</a:t>
            </a:r>
            <a:r>
              <a:rPr lang="en-US" sz="1500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UPR;</a:t>
            </a:r>
            <a:endParaRPr lang="en-ID" sz="1500" dirty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Font typeface="+mj-lt"/>
              <a:buAutoNum type="alphaLcPeriod"/>
            </a:pPr>
            <a:r>
              <a:rPr lang="nb-NO" sz="1500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ukungan data pencatatan pengalaman badan usaha dan tenaga kerja konstruksi pada sistem PBJ.</a:t>
            </a:r>
            <a:endParaRPr lang="en-ID" sz="1500" dirty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Picture 2" descr="lgo sigap.png">
            <a:extLst>
              <a:ext uri="{FF2B5EF4-FFF2-40B4-BE49-F238E27FC236}">
                <a16:creationId xmlns:a16="http://schemas.microsoft.com/office/drawing/2014/main" id="{211BA4A9-CEE9-6C01-FAC3-CEE49C878A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5" name="Round Same Side Corner Rectangle 1">
            <a:extLst>
              <a:ext uri="{FF2B5EF4-FFF2-40B4-BE49-F238E27FC236}">
                <a16:creationId xmlns:a16="http://schemas.microsoft.com/office/drawing/2014/main" id="{C367C9A7-C5CF-8257-8A27-FCDE7E26536E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A461875-D190-BD36-655A-E2A2E9CFD47D}"/>
              </a:ext>
            </a:extLst>
          </p:cNvPr>
          <p:cNvSpPr txBox="1">
            <a:spLocks/>
          </p:cNvSpPr>
          <p:nvPr/>
        </p:nvSpPr>
        <p:spPr>
          <a:xfrm>
            <a:off x="347157" y="201785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800" b="1" dirty="0">
                <a:solidFill>
                  <a:prstClr val="black"/>
                </a:solidFill>
                <a:latin typeface="Segoe UI"/>
              </a:rPr>
              <a:t>DAMPAK GANGGUAN PDNs2 </a:t>
            </a:r>
          </a:p>
          <a:p>
            <a:pPr>
              <a:lnSpc>
                <a:spcPct val="100000"/>
              </a:lnSpc>
              <a:defRPr/>
            </a:pPr>
            <a:r>
              <a:rPr lang="fi-FI" sz="2800" b="1" dirty="0">
                <a:solidFill>
                  <a:srgbClr val="FF0000"/>
                </a:solidFill>
                <a:latin typeface="Segoe UI"/>
              </a:rPr>
              <a:t>SISTEM LAYANAN LPJK TIDAK DAPAT BEROPERASI</a:t>
            </a:r>
          </a:p>
          <a:p>
            <a:pPr>
              <a:lnSpc>
                <a:spcPct val="100000"/>
              </a:lnSpc>
              <a:defRPr/>
            </a:pPr>
            <a:endParaRPr lang="fi-FI" sz="2800" b="1" dirty="0">
              <a:solidFill>
                <a:prstClr val="black"/>
              </a:solidFill>
              <a:latin typeface="Segoe UI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F53B1C0-D6A1-B2E6-B615-3B2B229A79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148C86FD-A265-72CF-CB1E-1182430B4100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A73DC42-79D2-7D1A-5796-5967C3597B6B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5A698BE3-D5E7-C630-D0AC-FCBADBEA021E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4C8D7C93-1818-D71E-4AE8-F803C674EA07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B70D2F62-FF5B-1DD8-EC32-DDFE53D2867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34683427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1D66DC-1C90-6948-BC17-50F085AA93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81F06F8-F742-4F8E-E828-F604DDD06B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931" y="2534123"/>
            <a:ext cx="12192000" cy="50537"/>
          </a:xfrm>
          <a:prstGeom prst="rect">
            <a:avLst/>
          </a:prstGeom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664E9A18-AB21-C423-59B6-F3B5A1E652DD}"/>
              </a:ext>
            </a:extLst>
          </p:cNvPr>
          <p:cNvSpPr txBox="1"/>
          <p:nvPr/>
        </p:nvSpPr>
        <p:spPr>
          <a:xfrm>
            <a:off x="2469515" y="4462655"/>
            <a:ext cx="9012572" cy="149015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4800" b="1" spc="-90" dirty="0">
                <a:solidFill>
                  <a:srgbClr val="002060"/>
                </a:solidFill>
                <a:latin typeface="Verdana"/>
                <a:cs typeface="Verdana"/>
              </a:rPr>
              <a:t>PERIZINAN BERUSAHA SUBSEKTOR KONSTRUKSI</a:t>
            </a:r>
            <a:endParaRPr sz="4800" dirty="0">
              <a:solidFill>
                <a:srgbClr val="002060"/>
              </a:solidFill>
              <a:latin typeface="Verdana"/>
              <a:cs typeface="Verdana"/>
            </a:endParaRPr>
          </a:p>
        </p:txBody>
      </p:sp>
      <p:pic>
        <p:nvPicPr>
          <p:cNvPr id="5" name="object 5">
            <a:extLst>
              <a:ext uri="{FF2B5EF4-FFF2-40B4-BE49-F238E27FC236}">
                <a16:creationId xmlns:a16="http://schemas.microsoft.com/office/drawing/2014/main" id="{B7BABBC3-5643-6EB6-D5B9-3476E21D1686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818119" y="457200"/>
            <a:ext cx="4605020" cy="2806700"/>
          </a:xfrm>
          <a:prstGeom prst="rect">
            <a:avLst/>
          </a:prstGeom>
        </p:spPr>
      </p:pic>
      <p:sp>
        <p:nvSpPr>
          <p:cNvPr id="7" name="object 7">
            <a:extLst>
              <a:ext uri="{FF2B5EF4-FFF2-40B4-BE49-F238E27FC236}">
                <a16:creationId xmlns:a16="http://schemas.microsoft.com/office/drawing/2014/main" id="{9376A4C1-9292-2296-330E-B6B08A3290CF}"/>
              </a:ext>
            </a:extLst>
          </p:cNvPr>
          <p:cNvSpPr/>
          <p:nvPr/>
        </p:nvSpPr>
        <p:spPr>
          <a:xfrm>
            <a:off x="-11931" y="-228600"/>
            <a:ext cx="10261600" cy="2771140"/>
          </a:xfrm>
          <a:custGeom>
            <a:avLst/>
            <a:gdLst/>
            <a:ahLst/>
            <a:cxnLst/>
            <a:rect l="l" t="t" r="r" b="b"/>
            <a:pathLst>
              <a:path w="10261600" h="2771140">
                <a:moveTo>
                  <a:pt x="9645050" y="0"/>
                </a:moveTo>
                <a:lnTo>
                  <a:pt x="0" y="0"/>
                </a:lnTo>
                <a:lnTo>
                  <a:pt x="0" y="2771140"/>
                </a:lnTo>
                <a:lnTo>
                  <a:pt x="9278493" y="2771140"/>
                </a:lnTo>
                <a:lnTo>
                  <a:pt x="10261600" y="1068070"/>
                </a:lnTo>
                <a:lnTo>
                  <a:pt x="9645050" y="0"/>
                </a:lnTo>
                <a:close/>
              </a:path>
            </a:pathLst>
          </a:custGeom>
          <a:solidFill>
            <a:schemeClr val="bg1">
              <a:lumMod val="85000"/>
              <a:alpha val="46665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B99D87A2-E228-5C78-0822-263A5A331459}"/>
              </a:ext>
            </a:extLst>
          </p:cNvPr>
          <p:cNvSpPr/>
          <p:nvPr/>
        </p:nvSpPr>
        <p:spPr>
          <a:xfrm>
            <a:off x="6471920" y="-93980"/>
            <a:ext cx="5742940" cy="3357879"/>
          </a:xfrm>
          <a:custGeom>
            <a:avLst/>
            <a:gdLst/>
            <a:ahLst/>
            <a:cxnLst/>
            <a:rect l="l" t="t" r="r" b="b"/>
            <a:pathLst>
              <a:path w="5742940" h="3357879">
                <a:moveTo>
                  <a:pt x="4774692" y="0"/>
                </a:moveTo>
                <a:lnTo>
                  <a:pt x="968248" y="0"/>
                </a:lnTo>
                <a:lnTo>
                  <a:pt x="0" y="1678939"/>
                </a:lnTo>
                <a:lnTo>
                  <a:pt x="968248" y="3357879"/>
                </a:lnTo>
                <a:lnTo>
                  <a:pt x="4774692" y="3357879"/>
                </a:lnTo>
                <a:lnTo>
                  <a:pt x="5742940" y="1678939"/>
                </a:lnTo>
                <a:lnTo>
                  <a:pt x="4774692" y="0"/>
                </a:lnTo>
                <a:close/>
              </a:path>
            </a:pathLst>
          </a:custGeom>
          <a:solidFill>
            <a:srgbClr val="36528A">
              <a:alpha val="67842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7" descr="Text, logo&#10;&#10;Description automatically generated">
            <a:extLst>
              <a:ext uri="{FF2B5EF4-FFF2-40B4-BE49-F238E27FC236}">
                <a16:creationId xmlns:a16="http://schemas.microsoft.com/office/drawing/2014/main" id="{29974BFE-70BC-BA1A-99BF-059081DA50D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043" y="67678"/>
            <a:ext cx="1615921" cy="614684"/>
          </a:xfrm>
          <a:prstGeom prst="rect">
            <a:avLst/>
          </a:prstGeom>
        </p:spPr>
      </p:pic>
      <p:pic>
        <p:nvPicPr>
          <p:cNvPr id="9" name="Picture 30" descr="A black background with red and black text&#10;&#10;Description automatically generated">
            <a:extLst>
              <a:ext uri="{FF2B5EF4-FFF2-40B4-BE49-F238E27FC236}">
                <a16:creationId xmlns:a16="http://schemas.microsoft.com/office/drawing/2014/main" id="{D59258F3-5127-8250-7688-100E2B279DD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1968133" y="-164396"/>
            <a:ext cx="1106668" cy="1106668"/>
          </a:xfrm>
          <a:prstGeom prst="rect">
            <a:avLst/>
          </a:prstGeom>
        </p:spPr>
      </p:pic>
      <p:pic>
        <p:nvPicPr>
          <p:cNvPr id="10" name="Picture 9" descr="lgo sigap.png">
            <a:extLst>
              <a:ext uri="{FF2B5EF4-FFF2-40B4-BE49-F238E27FC236}">
                <a16:creationId xmlns:a16="http://schemas.microsoft.com/office/drawing/2014/main" id="{75808627-9789-5C5F-7CEF-A84544F28D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  <p:sp>
        <p:nvSpPr>
          <p:cNvPr id="11" name="object 2">
            <a:extLst>
              <a:ext uri="{FF2B5EF4-FFF2-40B4-BE49-F238E27FC236}">
                <a16:creationId xmlns:a16="http://schemas.microsoft.com/office/drawing/2014/main" id="{561860D8-FF3D-0E63-AEB1-76D18CC06737}"/>
              </a:ext>
            </a:extLst>
          </p:cNvPr>
          <p:cNvSpPr txBox="1"/>
          <p:nvPr/>
        </p:nvSpPr>
        <p:spPr>
          <a:xfrm>
            <a:off x="269043" y="3106740"/>
            <a:ext cx="1534474" cy="32444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1000" b="1" spc="-9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  <a:endParaRPr sz="210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012931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go sigap.png">
            <a:extLst>
              <a:ext uri="{FF2B5EF4-FFF2-40B4-BE49-F238E27FC236}">
                <a16:creationId xmlns:a16="http://schemas.microsoft.com/office/drawing/2014/main" id="{211BA4A9-CEE9-6C01-FAC3-CEE49C878A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5" name="Round Same Side Corner Rectangle 1">
            <a:extLst>
              <a:ext uri="{FF2B5EF4-FFF2-40B4-BE49-F238E27FC236}">
                <a16:creationId xmlns:a16="http://schemas.microsoft.com/office/drawing/2014/main" id="{C367C9A7-C5CF-8257-8A27-FCDE7E26536E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A461875-D190-BD36-655A-E2A2E9CFD47D}"/>
              </a:ext>
            </a:extLst>
          </p:cNvPr>
          <p:cNvSpPr txBox="1">
            <a:spLocks/>
          </p:cNvSpPr>
          <p:nvPr/>
        </p:nvSpPr>
        <p:spPr>
          <a:xfrm>
            <a:off x="347157" y="195097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3200" b="1" dirty="0">
                <a:solidFill>
                  <a:prstClr val="black"/>
                </a:solidFill>
                <a:latin typeface="Segoe UI"/>
              </a:rPr>
              <a:t>DAMPAK GANGGUAN </a:t>
            </a:r>
          </a:p>
          <a:p>
            <a:pPr>
              <a:lnSpc>
                <a:spcPct val="100000"/>
              </a:lnSpc>
              <a:defRPr/>
            </a:pPr>
            <a:r>
              <a:rPr lang="fi-FI" sz="3200" b="1" dirty="0">
                <a:solidFill>
                  <a:srgbClr val="FF0000"/>
                </a:solidFill>
                <a:latin typeface="Segoe UI"/>
              </a:rPr>
              <a:t>PADA SISTEM LAIN YANG TERINTEGRASI</a:t>
            </a:r>
          </a:p>
          <a:p>
            <a:pPr>
              <a:lnSpc>
                <a:spcPct val="100000"/>
              </a:lnSpc>
              <a:defRPr/>
            </a:pPr>
            <a:endParaRPr lang="fi-FI" sz="3200" b="1" dirty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90839FF-F055-73A9-3EF9-3C9FE6597B24}"/>
              </a:ext>
            </a:extLst>
          </p:cNvPr>
          <p:cNvSpPr txBox="1"/>
          <p:nvPr/>
        </p:nvSpPr>
        <p:spPr>
          <a:xfrm>
            <a:off x="591889" y="1924386"/>
            <a:ext cx="9534112" cy="7850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  <a:spcAft>
                <a:spcPts val="600"/>
              </a:spcAft>
            </a:pPr>
            <a:r>
              <a:rPr lang="nb-NO" sz="2000" b="1" dirty="0">
                <a:effectLst/>
                <a:latin typeface="DM Sans" pitchFamily="2" charset="77"/>
                <a:ea typeface="Times New Roman" panose="02020603050405020304" pitchFamily="18" charset="0"/>
              </a:rPr>
              <a:t>Gangguan layanan LPJK juga berdampak pada layanan sistem lainnya yang terintegrasi menggunakan data layanan LPJK, terdiri dari:</a:t>
            </a:r>
            <a:endParaRPr lang="en-ID" sz="2400" b="1" dirty="0">
              <a:effectLst/>
              <a:latin typeface="DM Sans" pitchFamily="2" charset="77"/>
              <a:ea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F92726-20AD-C490-F63A-BC386EEB50C4}"/>
              </a:ext>
            </a:extLst>
          </p:cNvPr>
          <p:cNvSpPr txBox="1"/>
          <p:nvPr/>
        </p:nvSpPr>
        <p:spPr>
          <a:xfrm>
            <a:off x="988342" y="2828508"/>
            <a:ext cx="11064737" cy="1721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Font typeface="+mj-lt"/>
              <a:buAutoNum type="alphaLcPeriod"/>
            </a:pPr>
            <a:r>
              <a:rPr lang="nb-NO" sz="2000" dirty="0">
                <a:effectLst/>
                <a:latin typeface="DM Sans" pitchFamily="2" charset="77"/>
                <a:ea typeface="Times New Roman" panose="02020603050405020304" pitchFamily="18" charset="0"/>
              </a:rPr>
              <a:t>Proses pengadaan barang </a:t>
            </a:r>
            <a:r>
              <a:rPr lang="nb-NO" sz="2000" dirty="0" err="1">
                <a:effectLst/>
                <a:latin typeface="DM Sans" pitchFamily="2" charset="77"/>
                <a:ea typeface="Times New Roman" panose="02020603050405020304" pitchFamily="18" charset="0"/>
              </a:rPr>
              <a:t>dan</a:t>
            </a:r>
            <a:r>
              <a:rPr lang="nb-NO" sz="2000" dirty="0">
                <a:effectLst/>
                <a:latin typeface="DM Sans" pitchFamily="2" charset="77"/>
                <a:ea typeface="Times New Roman" panose="02020603050405020304" pitchFamily="18" charset="0"/>
              </a:rPr>
              <a:t> </a:t>
            </a:r>
            <a:r>
              <a:rPr lang="nb-NO" sz="2000" dirty="0" err="1">
                <a:effectLst/>
                <a:latin typeface="DM Sans" pitchFamily="2" charset="77"/>
                <a:ea typeface="Times New Roman" panose="02020603050405020304" pitchFamily="18" charset="0"/>
              </a:rPr>
              <a:t>jasa</a:t>
            </a:r>
            <a:r>
              <a:rPr lang="nb-NO" sz="2000" dirty="0">
                <a:effectLst/>
                <a:latin typeface="DM Sans" pitchFamily="2" charset="77"/>
                <a:ea typeface="Times New Roman" panose="02020603050405020304" pitchFamily="18" charset="0"/>
              </a:rPr>
              <a:t>;</a:t>
            </a:r>
            <a:endParaRPr lang="en-ID" sz="2000" dirty="0">
              <a:effectLst/>
              <a:latin typeface="DM Sans" pitchFamily="2" charset="77"/>
              <a:ea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Font typeface="+mj-lt"/>
              <a:buAutoNum type="alphaLcPeriod"/>
            </a:pPr>
            <a:r>
              <a:rPr lang="nb-NO" sz="2000" dirty="0">
                <a:effectLst/>
                <a:latin typeface="DM Sans" pitchFamily="2" charset="77"/>
                <a:ea typeface="Times New Roman" panose="02020603050405020304" pitchFamily="18" charset="0"/>
              </a:rPr>
              <a:t>Perizinan berusahan, permohonan SBU dan SKK pada portal </a:t>
            </a:r>
            <a:r>
              <a:rPr lang="nb-NO" sz="2000" dirty="0" err="1">
                <a:effectLst/>
                <a:latin typeface="DM Sans" pitchFamily="2" charset="77"/>
                <a:ea typeface="Times New Roman" panose="02020603050405020304" pitchFamily="18" charset="0"/>
              </a:rPr>
              <a:t>perizinan</a:t>
            </a:r>
            <a:r>
              <a:rPr lang="nb-NO" sz="2000" dirty="0">
                <a:effectLst/>
                <a:latin typeface="DM Sans" pitchFamily="2" charset="77"/>
                <a:ea typeface="Times New Roman" panose="02020603050405020304" pitchFamily="18" charset="0"/>
              </a:rPr>
              <a:t> PUPR;</a:t>
            </a:r>
            <a:endParaRPr lang="en-ID" sz="2000" dirty="0">
              <a:effectLst/>
              <a:latin typeface="DM Sans" pitchFamily="2" charset="77"/>
              <a:ea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Font typeface="+mj-lt"/>
              <a:buAutoNum type="alphaLcPeriod"/>
            </a:pPr>
            <a:r>
              <a:rPr lang="nb-NO" sz="2000" dirty="0">
                <a:effectLst/>
                <a:latin typeface="DM Sans" pitchFamily="2" charset="77"/>
                <a:ea typeface="Times New Roman" panose="02020603050405020304" pitchFamily="18" charset="0"/>
              </a:rPr>
              <a:t>Proses akreditasi KAN, pada proses witness sertifikasi SBU </a:t>
            </a:r>
            <a:r>
              <a:rPr lang="nb-NO" sz="2000" dirty="0" err="1">
                <a:effectLst/>
                <a:latin typeface="DM Sans" pitchFamily="2" charset="77"/>
                <a:ea typeface="Times New Roman" panose="02020603050405020304" pitchFamily="18" charset="0"/>
              </a:rPr>
              <a:t>dan</a:t>
            </a:r>
            <a:r>
              <a:rPr lang="nb-NO" sz="2000" dirty="0">
                <a:effectLst/>
                <a:latin typeface="DM Sans" pitchFamily="2" charset="77"/>
                <a:ea typeface="Times New Roman" panose="02020603050405020304" pitchFamily="18" charset="0"/>
              </a:rPr>
              <a:t> SKK;</a:t>
            </a:r>
            <a:endParaRPr lang="nb-NO" sz="2000" dirty="0">
              <a:latin typeface="DM Sans" pitchFamily="2" charset="77"/>
              <a:ea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600"/>
              </a:spcAft>
              <a:buFont typeface="+mj-lt"/>
              <a:buAutoNum type="alphaLcPeriod"/>
            </a:pPr>
            <a:r>
              <a:rPr lang="nb-NO" sz="2000" dirty="0">
                <a:latin typeface="DM Sans" pitchFamily="2" charset="77"/>
              </a:rPr>
              <a:t>Proses</a:t>
            </a:r>
            <a:r>
              <a:rPr lang="nb-NO" sz="2000" dirty="0">
                <a:effectLst/>
                <a:latin typeface="DM Sans" pitchFamily="2" charset="77"/>
                <a:ea typeface="Times New Roman" panose="02020603050405020304" pitchFamily="18" charset="0"/>
              </a:rPr>
              <a:t> lisensi LSP, pada proses witness sertifikasi SKK.</a:t>
            </a:r>
            <a:endParaRPr lang="en-ID" sz="2000" dirty="0">
              <a:latin typeface="DM Sans" pitchFamily="2" charset="77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27C2136-C38B-C52E-3BD0-F0267C90B6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08CA4729-6E67-8FF2-5358-8C289FD7AEFE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9188031-6064-3776-8E20-CAE8ECB58757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0CB47E2B-F99E-F7B9-44E4-50B112A2CBD9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FF322176-DFCA-747D-14DD-19DCD740B04F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7C813A66-0439-3651-3DC5-93B022828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543286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 descr="lgo sigap.png">
            <a:extLst>
              <a:ext uri="{FF2B5EF4-FFF2-40B4-BE49-F238E27FC236}">
                <a16:creationId xmlns:a16="http://schemas.microsoft.com/office/drawing/2014/main" id="{C6A4CC87-85D4-46A3-B9B1-57B9C51B5C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-2458"/>
            <a:ext cx="2877879" cy="110958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62ECD59-F4A3-9FD7-8C0D-2E5C235136BC}"/>
              </a:ext>
            </a:extLst>
          </p:cNvPr>
          <p:cNvSpPr txBox="1"/>
          <p:nvPr/>
        </p:nvSpPr>
        <p:spPr>
          <a:xfrm>
            <a:off x="1505495" y="1943680"/>
            <a:ext cx="6139544" cy="25085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nb-NO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Times New Roman" panose="02020603050405020304" pitchFamily="18" charset="0"/>
              </a:rPr>
              <a:t>Lisensi LSBU </a:t>
            </a:r>
          </a:p>
          <a:p>
            <a:pPr marL="342900" marR="0" lvl="0" indent="-34290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nb-NO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Times New Roman" panose="02020603050405020304" pitchFamily="18" charset="0"/>
              </a:rPr>
              <a:t>Rekomendasi Lisensi LSP</a:t>
            </a:r>
          </a:p>
          <a:p>
            <a:pPr marL="342900" marR="0" lvl="0" indent="-34290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nb-NO" sz="20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Times New Roman" panose="02020603050405020304" pitchFamily="18" charset="0"/>
              </a:rPr>
              <a:t>Pendampingan</a:t>
            </a:r>
            <a:r>
              <a:rPr kumimoji="0" lang="nb-NO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Times New Roman" panose="02020603050405020304" pitchFamily="18" charset="0"/>
              </a:rPr>
              <a:t> </a:t>
            </a:r>
            <a:r>
              <a:rPr kumimoji="0" lang="nb-NO" sz="20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Times New Roman" panose="02020603050405020304" pitchFamily="18" charset="0"/>
              </a:rPr>
              <a:t>Akreditasi</a:t>
            </a:r>
            <a:r>
              <a:rPr kumimoji="0" lang="nb-NO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Times New Roman" panose="02020603050405020304" pitchFamily="18" charset="0"/>
              </a:rPr>
              <a:t> (</a:t>
            </a:r>
            <a:r>
              <a:rPr kumimoji="0" lang="nb-NO" sz="20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Times New Roman" panose="02020603050405020304" pitchFamily="18" charset="0"/>
              </a:rPr>
              <a:t>Perpanjangan</a:t>
            </a:r>
            <a:r>
              <a:rPr kumimoji="0" lang="nb-NO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Times New Roman" panose="02020603050405020304" pitchFamily="18" charset="0"/>
              </a:rPr>
              <a:t> </a:t>
            </a:r>
            <a:r>
              <a:rPr kumimoji="0" lang="nb-NO" sz="20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Times New Roman" panose="02020603050405020304" pitchFamily="18" charset="0"/>
              </a:rPr>
              <a:t>akreditasi</a:t>
            </a:r>
            <a:r>
              <a:rPr kumimoji="0" lang="nb-NO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Times New Roman" panose="02020603050405020304" pitchFamily="18" charset="0"/>
              </a:rPr>
              <a:t>)</a:t>
            </a:r>
          </a:p>
          <a:p>
            <a:pPr marL="342900" marR="0" lvl="0" indent="-34290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nb-NO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Times New Roman" panose="02020603050405020304" pitchFamily="18" charset="0"/>
              </a:rPr>
              <a:t>Klarifikasi Keabsahan SBU/SKK</a:t>
            </a:r>
          </a:p>
          <a:p>
            <a:pPr marL="342900" marR="0" lvl="0" indent="-34290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lphaLcPeriod"/>
              <a:tabLst/>
              <a:defRPr/>
            </a:pPr>
            <a:endParaRPr kumimoji="0" lang="en-ID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Times New Roman" panose="02020603050405020304" pitchFamily="18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91E9D52-562F-1B93-5D1E-EBE6277ADC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2389" y="2490388"/>
            <a:ext cx="2095500" cy="2095500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3" name="Picture 2" descr="lgo sigap.png">
            <a:extLst>
              <a:ext uri="{FF2B5EF4-FFF2-40B4-BE49-F238E27FC236}">
                <a16:creationId xmlns:a16="http://schemas.microsoft.com/office/drawing/2014/main" id="{CEB6155D-3E4D-321A-AF09-66BF01E89E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4" name="Round Same Side Corner Rectangle 1">
            <a:extLst>
              <a:ext uri="{FF2B5EF4-FFF2-40B4-BE49-F238E27FC236}">
                <a16:creationId xmlns:a16="http://schemas.microsoft.com/office/drawing/2014/main" id="{20D808E7-D3F3-87D3-D0BB-43839CA2235F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EE01F5D-40A6-9D8A-E0D9-DBE0BC90F1D3}"/>
              </a:ext>
            </a:extLst>
          </p:cNvPr>
          <p:cNvSpPr txBox="1">
            <a:spLocks/>
          </p:cNvSpPr>
          <p:nvPr/>
        </p:nvSpPr>
        <p:spPr>
          <a:xfrm>
            <a:off x="347157" y="178256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3200" b="1" dirty="0">
                <a:solidFill>
                  <a:prstClr val="black"/>
                </a:solidFill>
                <a:latin typeface="Segoe UI"/>
              </a:rPr>
              <a:t>LAYANAN LPJK BERJALAN SEMENTARA</a:t>
            </a:r>
          </a:p>
          <a:p>
            <a:pPr>
              <a:lnSpc>
                <a:spcPct val="100000"/>
              </a:lnSpc>
              <a:defRPr/>
            </a:pPr>
            <a:r>
              <a:rPr lang="fi-FI" sz="3200" b="1" dirty="0">
                <a:solidFill>
                  <a:prstClr val="black"/>
                </a:solidFill>
                <a:latin typeface="Segoe UI"/>
              </a:rPr>
              <a:t>TANPA SISTEM INFORMASI</a:t>
            </a:r>
          </a:p>
          <a:p>
            <a:pPr>
              <a:lnSpc>
                <a:spcPct val="100000"/>
              </a:lnSpc>
              <a:defRPr/>
            </a:pPr>
            <a:endParaRPr lang="fi-FI" sz="3200" b="1" dirty="0">
              <a:solidFill>
                <a:prstClr val="black"/>
              </a:solidFill>
              <a:latin typeface="Segoe UI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92DEF81-8541-C121-D0D2-C779FE1FEE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ACE3C1BF-47F8-BB13-8544-F0B97E6295D8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94E56E6-A592-4406-BEC3-CF8162CE6ED5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C21CE4A7-D34E-1544-84E4-8AE51920AEFA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2AAD0010-E98D-6F9F-3CD9-49B6BED3160C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70CD6BE-B1C8-AC98-0ABF-75B82574A3F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410779172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6C0BFE8-90CA-2C88-96E7-DA766C4E0D6A}"/>
              </a:ext>
            </a:extLst>
          </p:cNvPr>
          <p:cNvSpPr txBox="1"/>
          <p:nvPr/>
        </p:nvSpPr>
        <p:spPr>
          <a:xfrm>
            <a:off x="5542580" y="1615260"/>
            <a:ext cx="6006773" cy="45255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nb-NO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+mn-cs"/>
              </a:rPr>
              <a:t>Aplikasi e-simpan </a:t>
            </a:r>
            <a:r>
              <a:rPr kumimoji="0" lang="nb-NO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+mn-cs"/>
              </a:rPr>
              <a:t>(pencatatan pengalaman badan usaha/tenaga kerja konstruksi) pada </a:t>
            </a:r>
            <a:r>
              <a:rPr kumimoji="0" lang="nb-NO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+mn-cs"/>
              </a:rPr>
              <a:t>27 Juni sd 4 Juli dan sejak 15 Juli 2024;</a:t>
            </a:r>
            <a:endParaRPr kumimoji="0" lang="en-ID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Times New Roman" panose="02020603050405020304" pitchFamily="18" charset="0"/>
              <a:cs typeface="+mn-cs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nb-NO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+mn-cs"/>
              </a:rPr>
              <a:t>Dukungan data </a:t>
            </a:r>
            <a:r>
              <a:rPr kumimoji="0" lang="nb-NO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+mn-cs"/>
              </a:rPr>
              <a:t>pencatatan pengalaman badan usaha dan tenaga kerja konstruksi pada </a:t>
            </a:r>
            <a:r>
              <a:rPr kumimoji="0" lang="nb-NO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+mn-cs"/>
              </a:rPr>
              <a:t>sistem PBJ sejak 5 Juli 2024;</a:t>
            </a:r>
            <a:endParaRPr kumimoji="0" lang="en-ID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Times New Roman" panose="02020603050405020304" pitchFamily="18" charset="0"/>
              <a:cs typeface="+mn-cs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nb-NO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+mn-cs"/>
              </a:rPr>
              <a:t>SIKI (</a:t>
            </a:r>
            <a:r>
              <a:rPr kumimoji="0" lang="nb-NO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+mn-cs"/>
              </a:rPr>
              <a:t>perubahan Tenaga Kerja, Reset akun dan ganti email TKK</a:t>
            </a:r>
            <a:r>
              <a:rPr kumimoji="0" lang="nb-NO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+mn-cs"/>
              </a:rPr>
              <a:t>) </a:t>
            </a:r>
            <a:r>
              <a:rPr kumimoji="0" lang="nb-NO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+mn-cs"/>
              </a:rPr>
              <a:t>sejak 16 Juli 2024;</a:t>
            </a:r>
            <a:endParaRPr kumimoji="0" lang="en-ID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Times New Roman" panose="02020603050405020304" pitchFamily="18" charset="0"/>
              <a:cs typeface="+mn-cs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nb-NO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+mn-cs"/>
              </a:rPr>
              <a:t>Jakontrust </a:t>
            </a:r>
            <a:r>
              <a:rPr kumimoji="0" lang="nb-NO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+mn-cs"/>
              </a:rPr>
              <a:t>(pengecekan keabsahan SBU/SKK)  </a:t>
            </a:r>
            <a:r>
              <a:rPr kumimoji="0" lang="nb-NO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+mn-cs"/>
              </a:rPr>
              <a:t>sejak 18 Juli 2024;</a:t>
            </a:r>
            <a:endParaRPr kumimoji="0" lang="en-ID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Times New Roman" panose="02020603050405020304" pitchFamily="18" charset="0"/>
              <a:cs typeface="+mn-cs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+mn-cs"/>
              </a:rPr>
              <a:t>Dukung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+mn-cs"/>
              </a:rPr>
              <a:t> data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+mn-cs"/>
              </a:rPr>
              <a:t>layan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+mn-cs"/>
              </a:rPr>
              <a:t>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+mn-cs"/>
              </a:rPr>
              <a:t>permohonan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+mn-cs"/>
              </a:rPr>
              <a:t> SBU/SKK pada Portal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+mn-cs"/>
              </a:rPr>
              <a:t>perizina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+mn-cs"/>
              </a:rPr>
              <a:t> PUPR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+mn-cs"/>
              </a:rPr>
              <a:t>sejak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+mn-cs"/>
              </a:rPr>
              <a:t> </a:t>
            </a:r>
            <a:r>
              <a:rPr lang="nb-NO" b="1" dirty="0">
                <a:solidFill>
                  <a:prstClr val="black"/>
                </a:solidFill>
                <a:latin typeface="Aptos" panose="020B0004020202020204" pitchFamily="34" charset="0"/>
                <a:ea typeface="Times New Roman" panose="02020603050405020304" pitchFamily="18" charset="0"/>
              </a:rPr>
              <a:t>24</a:t>
            </a:r>
            <a:r>
              <a:rPr kumimoji="0" lang="nb-NO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+mn-cs"/>
              </a:rPr>
              <a:t> Juli 2024.</a:t>
            </a:r>
            <a:endParaRPr kumimoji="0" lang="en-ID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Times New Roman" panose="02020603050405020304" pitchFamily="18" charset="0"/>
              <a:cs typeface="+mn-cs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lphaLcPeriod"/>
              <a:tabLst/>
              <a:defRPr/>
            </a:pPr>
            <a:endParaRPr kumimoji="0" lang="en-ID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Times New Roman" panose="02020603050405020304" pitchFamily="18" charset="0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616C2F3-60D5-1F93-F148-6A072D6BCB8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97"/>
          <a:stretch/>
        </p:blipFill>
        <p:spPr>
          <a:xfrm>
            <a:off x="514815" y="1784449"/>
            <a:ext cx="4369420" cy="378404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3CBCF12-828D-7714-F3FB-B8C1A3A55092}"/>
              </a:ext>
            </a:extLst>
          </p:cNvPr>
          <p:cNvSpPr txBox="1"/>
          <p:nvPr/>
        </p:nvSpPr>
        <p:spPr>
          <a:xfrm>
            <a:off x="642647" y="3320520"/>
            <a:ext cx="2448427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5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Layanan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5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LPJK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5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berangsur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5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50000"/>
                  </a:srgbClr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NORMA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C17BA85-4DCB-25C0-EE2D-F81637DC3F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761E9029-0FE1-1F7A-D629-9DB8D7F10D67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EB79C498-CAA4-E4D5-E8AB-891073544FC2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FBFE635B-0D7A-4F3F-4FF3-A4FC532E2CFD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C6E671D8-062E-0F5D-8680-767AF99681F9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1494D58-F231-0681-E2C9-D2CA6084334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pic>
        <p:nvPicPr>
          <p:cNvPr id="13" name="Picture 12" descr="lgo sigap.png">
            <a:extLst>
              <a:ext uri="{FF2B5EF4-FFF2-40B4-BE49-F238E27FC236}">
                <a16:creationId xmlns:a16="http://schemas.microsoft.com/office/drawing/2014/main" id="{2925E7FD-69F9-2EEC-D795-19462C9ED8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14" name="Round Same Side Corner Rectangle 1">
            <a:extLst>
              <a:ext uri="{FF2B5EF4-FFF2-40B4-BE49-F238E27FC236}">
                <a16:creationId xmlns:a16="http://schemas.microsoft.com/office/drawing/2014/main" id="{98892D7E-465C-86F5-599B-62D24A22A9A2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2B418A2-8FA3-E69E-78D4-F907AA630F36}"/>
              </a:ext>
            </a:extLst>
          </p:cNvPr>
          <p:cNvSpPr txBox="1">
            <a:spLocks/>
          </p:cNvSpPr>
          <p:nvPr/>
        </p:nvSpPr>
        <p:spPr>
          <a:xfrm>
            <a:off x="347157" y="169194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3200" b="1" dirty="0">
                <a:solidFill>
                  <a:prstClr val="black"/>
                </a:solidFill>
                <a:latin typeface="Segoe UI"/>
              </a:rPr>
              <a:t>LAYANAN LPJK SUDAH BERJALAN </a:t>
            </a:r>
          </a:p>
          <a:p>
            <a:pPr>
              <a:lnSpc>
                <a:spcPct val="100000"/>
              </a:lnSpc>
              <a:defRPr/>
            </a:pPr>
            <a:r>
              <a:rPr lang="fi-FI" sz="3200" b="1" dirty="0">
                <a:solidFill>
                  <a:prstClr val="black"/>
                </a:solidFill>
                <a:latin typeface="Segoe UI"/>
              </a:rPr>
              <a:t>DENGAN SISTEM INFORMASI</a:t>
            </a:r>
          </a:p>
          <a:p>
            <a:pPr>
              <a:lnSpc>
                <a:spcPct val="100000"/>
              </a:lnSpc>
              <a:defRPr/>
            </a:pPr>
            <a:endParaRPr lang="fi-FI" sz="3200" b="1" dirty="0">
              <a:solidFill>
                <a:prstClr val="black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47664773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BE910423-05B9-6FE1-33ED-130BD31F8482}"/>
              </a:ext>
            </a:extLst>
          </p:cNvPr>
          <p:cNvSpPr txBox="1"/>
          <p:nvPr/>
        </p:nvSpPr>
        <p:spPr>
          <a:xfrm>
            <a:off x="1511486" y="1461192"/>
            <a:ext cx="9241574" cy="41777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Times New Roman" panose="02020603050405020304" pitchFamily="18" charset="0"/>
              </a:rPr>
              <a:t>Web LPJK 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Times New Roman" panose="02020603050405020304" pitchFamily="18" charset="0"/>
              </a:rPr>
              <a:t>(klarifikasi keabsahan dan proses SBU/SKK) sedang persiapan operasional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Times New Roman" panose="02020603050405020304" pitchFamily="18" charset="0"/>
              </a:rPr>
              <a:t>Akreditasi 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Times New Roman" panose="02020603050405020304" pitchFamily="18" charset="0"/>
              </a:rPr>
              <a:t>(akreditasi Asosiasi Jasa Konstruksi) akan dilaksanakan manual dahulu</a:t>
            </a:r>
            <a:endParaRPr kumimoji="0" lang="en-ID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Times New Roman" panose="02020603050405020304" pitchFamily="18" charset="0"/>
              </a:rPr>
              <a:t>PKB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Times New Roman" panose="02020603050405020304" pitchFamily="18" charset="0"/>
              </a:rPr>
              <a:t> sedang persiapan operasional dengan aplikasi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Times New Roman" panose="02020603050405020304" pitchFamily="18" charset="0"/>
              </a:rPr>
              <a:t>Rekomendasi Lisensi 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Times New Roman" panose="02020603050405020304" pitchFamily="18" charset="0"/>
              </a:rPr>
              <a:t>sedang persiapan operasional dengan aplikasi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Times New Roman" panose="02020603050405020304" pitchFamily="18" charset="0"/>
              </a:rPr>
              <a:t>TKKA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ea typeface="Times New Roman" panose="02020603050405020304" pitchFamily="18" charset="0"/>
              </a:rPr>
              <a:t> sedang persiapan operasional manual dahulu</a:t>
            </a:r>
          </a:p>
          <a:p>
            <a:pPr marL="0" marR="0" lvl="0" indent="0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Times New Roman" panose="02020603050405020304" pitchFamily="18" charset="0"/>
            </a:endParaRPr>
          </a:p>
        </p:txBody>
      </p:sp>
      <p:pic>
        <p:nvPicPr>
          <p:cNvPr id="3" name="Picture 2" descr="lgo sigap.png">
            <a:extLst>
              <a:ext uri="{FF2B5EF4-FFF2-40B4-BE49-F238E27FC236}">
                <a16:creationId xmlns:a16="http://schemas.microsoft.com/office/drawing/2014/main" id="{A7C0BCF5-96A9-1BF7-A6E0-9F795DC36B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4" name="Round Same Side Corner Rectangle 1">
            <a:extLst>
              <a:ext uri="{FF2B5EF4-FFF2-40B4-BE49-F238E27FC236}">
                <a16:creationId xmlns:a16="http://schemas.microsoft.com/office/drawing/2014/main" id="{60539F76-C663-35BD-80C5-DF3645CCAE25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E52D764-AE3E-2858-56C9-33FE947A7D51}"/>
              </a:ext>
            </a:extLst>
          </p:cNvPr>
          <p:cNvSpPr txBox="1">
            <a:spLocks/>
          </p:cNvSpPr>
          <p:nvPr/>
        </p:nvSpPr>
        <p:spPr>
          <a:xfrm>
            <a:off x="347157" y="169194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3200" b="1" dirty="0">
                <a:solidFill>
                  <a:prstClr val="black"/>
                </a:solidFill>
                <a:latin typeface="Segoe UI"/>
              </a:rPr>
              <a:t>RENCANA LAYANAN LAINNYA</a:t>
            </a:r>
          </a:p>
          <a:p>
            <a:pPr>
              <a:lnSpc>
                <a:spcPct val="100000"/>
              </a:lnSpc>
              <a:defRPr/>
            </a:pPr>
            <a:endParaRPr lang="fi-FI" sz="3200" b="1" dirty="0">
              <a:solidFill>
                <a:prstClr val="black"/>
              </a:solidFill>
              <a:latin typeface="Segoe UI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C63B878-4F75-DF81-AEA1-53DA4AA7CD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37C3B822-AF5C-86DB-0D73-366A514CA332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4D6A6031-DAAA-2963-4FA5-43DF7A79B77C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EA96104-2A1E-A461-62F6-2517DDC12EFE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03F141CE-AB1D-E53D-820B-A2461677F9FB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8F14C40F-FAD8-8B9B-98E1-B903573BD94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286440741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outdoor, mountain, bridge&#10;&#10;Description automatically generated">
            <a:extLst>
              <a:ext uri="{FF2B5EF4-FFF2-40B4-BE49-F238E27FC236}">
                <a16:creationId xmlns:a16="http://schemas.microsoft.com/office/drawing/2014/main" id="{640327A5-DCB8-45D8-AA48-89DCF7070FF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09231" cy="6858000"/>
          </a:xfrm>
          <a:prstGeom prst="rect">
            <a:avLst/>
          </a:prstGeom>
        </p:spPr>
      </p:pic>
      <p:grpSp>
        <p:nvGrpSpPr>
          <p:cNvPr id="4" name="object 3">
            <a:extLst>
              <a:ext uri="{FF2B5EF4-FFF2-40B4-BE49-F238E27FC236}">
                <a16:creationId xmlns:a16="http://schemas.microsoft.com/office/drawing/2014/main" id="{713CCFD0-82D0-4BFB-8F77-A8154385334C}"/>
              </a:ext>
            </a:extLst>
          </p:cNvPr>
          <p:cNvGrpSpPr/>
          <p:nvPr/>
        </p:nvGrpSpPr>
        <p:grpSpPr>
          <a:xfrm>
            <a:off x="0" y="4168288"/>
            <a:ext cx="10239375" cy="622935"/>
            <a:chOff x="0" y="3177688"/>
            <a:chExt cx="6176645" cy="622935"/>
          </a:xfrm>
          <a:solidFill>
            <a:schemeClr val="bg1">
              <a:lumMod val="85000"/>
            </a:schemeClr>
          </a:solidFill>
        </p:grpSpPr>
        <p:sp>
          <p:nvSpPr>
            <p:cNvPr id="5" name="object 4">
              <a:extLst>
                <a:ext uri="{FF2B5EF4-FFF2-40B4-BE49-F238E27FC236}">
                  <a16:creationId xmlns:a16="http://schemas.microsoft.com/office/drawing/2014/main" id="{71484EBC-98B2-47BF-B4F3-C481E9D01E73}"/>
                </a:ext>
              </a:extLst>
            </p:cNvPr>
            <p:cNvSpPr/>
            <p:nvPr/>
          </p:nvSpPr>
          <p:spPr>
            <a:xfrm>
              <a:off x="0" y="3177688"/>
              <a:ext cx="6176645" cy="622935"/>
            </a:xfrm>
            <a:custGeom>
              <a:avLst/>
              <a:gdLst/>
              <a:ahLst/>
              <a:cxnLst/>
              <a:rect l="l" t="t" r="r" b="b"/>
              <a:pathLst>
                <a:path w="6176645" h="622935">
                  <a:moveTo>
                    <a:pt x="6176209" y="0"/>
                  </a:moveTo>
                  <a:lnTo>
                    <a:pt x="0" y="0"/>
                  </a:lnTo>
                  <a:lnTo>
                    <a:pt x="0" y="622836"/>
                  </a:lnTo>
                  <a:lnTo>
                    <a:pt x="6176209" y="622836"/>
                  </a:lnTo>
                  <a:lnTo>
                    <a:pt x="6176209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object 5">
              <a:extLst>
                <a:ext uri="{FF2B5EF4-FFF2-40B4-BE49-F238E27FC236}">
                  <a16:creationId xmlns:a16="http://schemas.microsoft.com/office/drawing/2014/main" id="{58E9C3F5-6DFF-4527-8661-0C1169566C0A}"/>
                </a:ext>
              </a:extLst>
            </p:cNvPr>
            <p:cNvSpPr/>
            <p:nvPr/>
          </p:nvSpPr>
          <p:spPr>
            <a:xfrm>
              <a:off x="4334091" y="3522471"/>
              <a:ext cx="1092200" cy="26670"/>
            </a:xfrm>
            <a:custGeom>
              <a:avLst/>
              <a:gdLst/>
              <a:ahLst/>
              <a:cxnLst/>
              <a:rect l="l" t="t" r="r" b="b"/>
              <a:pathLst>
                <a:path w="1092200" h="26670">
                  <a:moveTo>
                    <a:pt x="1028700" y="0"/>
                  </a:moveTo>
                  <a:lnTo>
                    <a:pt x="0" y="0"/>
                  </a:lnTo>
                  <a:lnTo>
                    <a:pt x="0" y="12700"/>
                  </a:lnTo>
                  <a:lnTo>
                    <a:pt x="1028700" y="12700"/>
                  </a:lnTo>
                  <a:lnTo>
                    <a:pt x="1028700" y="0"/>
                  </a:lnTo>
                  <a:close/>
                </a:path>
                <a:path w="1092200" h="26670">
                  <a:moveTo>
                    <a:pt x="1092200" y="13690"/>
                  </a:moveTo>
                  <a:lnTo>
                    <a:pt x="50800" y="13690"/>
                  </a:lnTo>
                  <a:lnTo>
                    <a:pt x="50800" y="26390"/>
                  </a:lnTo>
                  <a:lnTo>
                    <a:pt x="1092200" y="26390"/>
                  </a:lnTo>
                  <a:lnTo>
                    <a:pt x="1092200" y="1369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object 9">
            <a:extLst>
              <a:ext uri="{FF2B5EF4-FFF2-40B4-BE49-F238E27FC236}">
                <a16:creationId xmlns:a16="http://schemas.microsoft.com/office/drawing/2014/main" id="{0B70DF76-49A2-46F8-812E-CF45EAFD78DA}"/>
              </a:ext>
            </a:extLst>
          </p:cNvPr>
          <p:cNvSpPr/>
          <p:nvPr/>
        </p:nvSpPr>
        <p:spPr>
          <a:xfrm>
            <a:off x="677" y="4916245"/>
            <a:ext cx="9314773" cy="1378585"/>
          </a:xfrm>
          <a:custGeom>
            <a:avLst/>
            <a:gdLst/>
            <a:ahLst/>
            <a:cxnLst/>
            <a:rect l="l" t="t" r="r" b="b"/>
            <a:pathLst>
              <a:path w="6664325" h="1378585">
                <a:moveTo>
                  <a:pt x="6664312" y="0"/>
                </a:moveTo>
                <a:lnTo>
                  <a:pt x="0" y="0"/>
                </a:lnTo>
                <a:lnTo>
                  <a:pt x="0" y="1378380"/>
                </a:lnTo>
                <a:lnTo>
                  <a:pt x="6664312" y="1378380"/>
                </a:lnTo>
                <a:lnTo>
                  <a:pt x="666431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object 21">
            <a:extLst>
              <a:ext uri="{FF2B5EF4-FFF2-40B4-BE49-F238E27FC236}">
                <a16:creationId xmlns:a16="http://schemas.microsoft.com/office/drawing/2014/main" id="{8A0CD29C-13F9-47B7-887B-D437DA797B4C}"/>
              </a:ext>
            </a:extLst>
          </p:cNvPr>
          <p:cNvSpPr/>
          <p:nvPr/>
        </p:nvSpPr>
        <p:spPr>
          <a:xfrm>
            <a:off x="6798765" y="3926990"/>
            <a:ext cx="5393235" cy="2531745"/>
          </a:xfrm>
          <a:custGeom>
            <a:avLst/>
            <a:gdLst/>
            <a:ahLst/>
            <a:cxnLst/>
            <a:rect l="l" t="t" r="r" b="b"/>
            <a:pathLst>
              <a:path w="5447665" h="2531745">
                <a:moveTo>
                  <a:pt x="5447464" y="0"/>
                </a:moveTo>
                <a:lnTo>
                  <a:pt x="1263650" y="0"/>
                </a:lnTo>
                <a:lnTo>
                  <a:pt x="1215177" y="911"/>
                </a:lnTo>
                <a:lnTo>
                  <a:pt x="1167170" y="3627"/>
                </a:lnTo>
                <a:lnTo>
                  <a:pt x="1119656" y="8114"/>
                </a:lnTo>
                <a:lnTo>
                  <a:pt x="1072668" y="14337"/>
                </a:lnTo>
                <a:lnTo>
                  <a:pt x="1026242" y="22265"/>
                </a:lnTo>
                <a:lnTo>
                  <a:pt x="980406" y="31866"/>
                </a:lnTo>
                <a:lnTo>
                  <a:pt x="935197" y="43108"/>
                </a:lnTo>
                <a:lnTo>
                  <a:pt x="890644" y="55956"/>
                </a:lnTo>
                <a:lnTo>
                  <a:pt x="846782" y="70377"/>
                </a:lnTo>
                <a:lnTo>
                  <a:pt x="803647" y="86340"/>
                </a:lnTo>
                <a:lnTo>
                  <a:pt x="761262" y="103812"/>
                </a:lnTo>
                <a:lnTo>
                  <a:pt x="719668" y="122762"/>
                </a:lnTo>
                <a:lnTo>
                  <a:pt x="678896" y="143151"/>
                </a:lnTo>
                <a:lnTo>
                  <a:pt x="638977" y="164952"/>
                </a:lnTo>
                <a:lnTo>
                  <a:pt x="599948" y="188132"/>
                </a:lnTo>
                <a:lnTo>
                  <a:pt x="561834" y="212656"/>
                </a:lnTo>
                <a:lnTo>
                  <a:pt x="524675" y="238493"/>
                </a:lnTo>
                <a:lnTo>
                  <a:pt x="488500" y="265609"/>
                </a:lnTo>
                <a:lnTo>
                  <a:pt x="453343" y="293971"/>
                </a:lnTo>
                <a:lnTo>
                  <a:pt x="419237" y="323549"/>
                </a:lnTo>
                <a:lnTo>
                  <a:pt x="386213" y="354307"/>
                </a:lnTo>
                <a:lnTo>
                  <a:pt x="354307" y="386214"/>
                </a:lnTo>
                <a:lnTo>
                  <a:pt x="323549" y="419238"/>
                </a:lnTo>
                <a:lnTo>
                  <a:pt x="293970" y="453344"/>
                </a:lnTo>
                <a:lnTo>
                  <a:pt x="265609" y="488501"/>
                </a:lnTo>
                <a:lnTo>
                  <a:pt x="238492" y="524675"/>
                </a:lnTo>
                <a:lnTo>
                  <a:pt x="212655" y="561835"/>
                </a:lnTo>
                <a:lnTo>
                  <a:pt x="188131" y="599948"/>
                </a:lnTo>
                <a:lnTo>
                  <a:pt x="164952" y="638977"/>
                </a:lnTo>
                <a:lnTo>
                  <a:pt x="143150" y="678897"/>
                </a:lnTo>
                <a:lnTo>
                  <a:pt x="122759" y="719669"/>
                </a:lnTo>
                <a:lnTo>
                  <a:pt x="103811" y="761263"/>
                </a:lnTo>
                <a:lnTo>
                  <a:pt x="86339" y="803645"/>
                </a:lnTo>
                <a:lnTo>
                  <a:pt x="70377" y="846783"/>
                </a:lnTo>
                <a:lnTo>
                  <a:pt x="55954" y="890645"/>
                </a:lnTo>
                <a:lnTo>
                  <a:pt x="43107" y="935198"/>
                </a:lnTo>
                <a:lnTo>
                  <a:pt x="31868" y="980408"/>
                </a:lnTo>
                <a:lnTo>
                  <a:pt x="22265" y="1026243"/>
                </a:lnTo>
                <a:lnTo>
                  <a:pt x="14337" y="1072669"/>
                </a:lnTo>
                <a:lnTo>
                  <a:pt x="8114" y="1119657"/>
                </a:lnTo>
                <a:lnTo>
                  <a:pt x="3627" y="1167170"/>
                </a:lnTo>
                <a:lnTo>
                  <a:pt x="910" y="1215179"/>
                </a:lnTo>
                <a:lnTo>
                  <a:pt x="0" y="1263650"/>
                </a:lnTo>
                <a:lnTo>
                  <a:pt x="910" y="1312120"/>
                </a:lnTo>
                <a:lnTo>
                  <a:pt x="3627" y="1360129"/>
                </a:lnTo>
                <a:lnTo>
                  <a:pt x="8114" y="1407643"/>
                </a:lnTo>
                <a:lnTo>
                  <a:pt x="14337" y="1454632"/>
                </a:lnTo>
                <a:lnTo>
                  <a:pt x="22265" y="1501061"/>
                </a:lnTo>
                <a:lnTo>
                  <a:pt x="31868" y="1546896"/>
                </a:lnTo>
                <a:lnTo>
                  <a:pt x="43107" y="1592108"/>
                </a:lnTo>
                <a:lnTo>
                  <a:pt x="55954" y="1636661"/>
                </a:lnTo>
                <a:lnTo>
                  <a:pt x="70377" y="1680523"/>
                </a:lnTo>
                <a:lnTo>
                  <a:pt x="86339" y="1723661"/>
                </a:lnTo>
                <a:lnTo>
                  <a:pt x="103811" y="1766045"/>
                </a:lnTo>
                <a:lnTo>
                  <a:pt x="122759" y="1807639"/>
                </a:lnTo>
                <a:lnTo>
                  <a:pt x="143150" y="1848412"/>
                </a:lnTo>
                <a:lnTo>
                  <a:pt x="164952" y="1888329"/>
                </a:lnTo>
                <a:lnTo>
                  <a:pt x="188131" y="1927360"/>
                </a:lnTo>
                <a:lnTo>
                  <a:pt x="212655" y="1965473"/>
                </a:lnTo>
                <a:lnTo>
                  <a:pt x="238492" y="2002633"/>
                </a:lnTo>
                <a:lnTo>
                  <a:pt x="265609" y="2038807"/>
                </a:lnTo>
                <a:lnTo>
                  <a:pt x="293970" y="2073964"/>
                </a:lnTo>
                <a:lnTo>
                  <a:pt x="323549" y="2108070"/>
                </a:lnTo>
                <a:lnTo>
                  <a:pt x="354307" y="2141092"/>
                </a:lnTo>
                <a:lnTo>
                  <a:pt x="386213" y="2172999"/>
                </a:lnTo>
                <a:lnTo>
                  <a:pt x="419237" y="2203757"/>
                </a:lnTo>
                <a:lnTo>
                  <a:pt x="453343" y="2233334"/>
                </a:lnTo>
                <a:lnTo>
                  <a:pt x="488500" y="2261696"/>
                </a:lnTo>
                <a:lnTo>
                  <a:pt x="524675" y="2288812"/>
                </a:lnTo>
                <a:lnTo>
                  <a:pt x="561834" y="2314648"/>
                </a:lnTo>
                <a:lnTo>
                  <a:pt x="599948" y="2339171"/>
                </a:lnTo>
                <a:lnTo>
                  <a:pt x="638977" y="2362350"/>
                </a:lnTo>
                <a:lnTo>
                  <a:pt x="678896" y="2384151"/>
                </a:lnTo>
                <a:lnTo>
                  <a:pt x="719668" y="2404541"/>
                </a:lnTo>
                <a:lnTo>
                  <a:pt x="761262" y="2423488"/>
                </a:lnTo>
                <a:lnTo>
                  <a:pt x="803647" y="2440960"/>
                </a:lnTo>
                <a:lnTo>
                  <a:pt x="846782" y="2456922"/>
                </a:lnTo>
                <a:lnTo>
                  <a:pt x="890644" y="2471344"/>
                </a:lnTo>
                <a:lnTo>
                  <a:pt x="935197" y="2484191"/>
                </a:lnTo>
                <a:lnTo>
                  <a:pt x="980406" y="2495431"/>
                </a:lnTo>
                <a:lnTo>
                  <a:pt x="1026242" y="2505032"/>
                </a:lnTo>
                <a:lnTo>
                  <a:pt x="1072668" y="2512961"/>
                </a:lnTo>
                <a:lnTo>
                  <a:pt x="1119656" y="2519184"/>
                </a:lnTo>
                <a:lnTo>
                  <a:pt x="1167170" y="2523670"/>
                </a:lnTo>
                <a:lnTo>
                  <a:pt x="1215177" y="2526386"/>
                </a:lnTo>
                <a:lnTo>
                  <a:pt x="1263650" y="2527299"/>
                </a:lnTo>
                <a:lnTo>
                  <a:pt x="1263650" y="2531540"/>
                </a:lnTo>
                <a:lnTo>
                  <a:pt x="5447464" y="2531540"/>
                </a:lnTo>
                <a:lnTo>
                  <a:pt x="5447464" y="0"/>
                </a:lnTo>
                <a:close/>
              </a:path>
            </a:pathLst>
          </a:custGeom>
          <a:solidFill>
            <a:srgbClr val="1D2F58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Gambar 9">
            <a:extLst>
              <a:ext uri="{FF2B5EF4-FFF2-40B4-BE49-F238E27FC236}">
                <a16:creationId xmlns:a16="http://schemas.microsoft.com/office/drawing/2014/main" id="{C45FBC08-83CC-48BF-9173-5EECBB68124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37" y="4272409"/>
            <a:ext cx="416414" cy="385682"/>
          </a:xfrm>
          <a:prstGeom prst="rect">
            <a:avLst/>
          </a:prstGeom>
        </p:spPr>
      </p:pic>
      <p:pic>
        <p:nvPicPr>
          <p:cNvPr id="33" name="Gambar 32">
            <a:extLst>
              <a:ext uri="{FF2B5EF4-FFF2-40B4-BE49-F238E27FC236}">
                <a16:creationId xmlns:a16="http://schemas.microsoft.com/office/drawing/2014/main" id="{EC3772B6-48D1-425F-A4D1-068A476F1D3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7888" y="5046023"/>
            <a:ext cx="480397" cy="444943"/>
          </a:xfrm>
          <a:prstGeom prst="rect">
            <a:avLst/>
          </a:prstGeom>
        </p:spPr>
      </p:pic>
      <p:pic>
        <p:nvPicPr>
          <p:cNvPr id="34" name="Gambar 33">
            <a:extLst>
              <a:ext uri="{FF2B5EF4-FFF2-40B4-BE49-F238E27FC236}">
                <a16:creationId xmlns:a16="http://schemas.microsoft.com/office/drawing/2014/main" id="{8F979399-715D-4580-9B9E-807D9F31C86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9432" y="5667880"/>
            <a:ext cx="480397" cy="444943"/>
          </a:xfrm>
          <a:prstGeom prst="rect">
            <a:avLst/>
          </a:prstGeom>
        </p:spPr>
      </p:pic>
      <p:pic>
        <p:nvPicPr>
          <p:cNvPr id="35" name="Gambar 34">
            <a:extLst>
              <a:ext uri="{FF2B5EF4-FFF2-40B4-BE49-F238E27FC236}">
                <a16:creationId xmlns:a16="http://schemas.microsoft.com/office/drawing/2014/main" id="{3DFAEB71-6442-406E-94BC-C8F58146633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8367" y="5046023"/>
            <a:ext cx="480397" cy="444943"/>
          </a:xfrm>
          <a:prstGeom prst="rect">
            <a:avLst/>
          </a:prstGeom>
        </p:spPr>
      </p:pic>
      <p:pic>
        <p:nvPicPr>
          <p:cNvPr id="37" name="Gambar 36">
            <a:extLst>
              <a:ext uri="{FF2B5EF4-FFF2-40B4-BE49-F238E27FC236}">
                <a16:creationId xmlns:a16="http://schemas.microsoft.com/office/drawing/2014/main" id="{E0AC7C62-BF16-43B3-89EA-435339FA319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290" y="5667880"/>
            <a:ext cx="480397" cy="444943"/>
          </a:xfrm>
          <a:prstGeom prst="rect">
            <a:avLst/>
          </a:prstGeom>
        </p:spPr>
      </p:pic>
      <p:sp>
        <p:nvSpPr>
          <p:cNvPr id="38" name="Kotak Teks 37">
            <a:extLst>
              <a:ext uri="{FF2B5EF4-FFF2-40B4-BE49-F238E27FC236}">
                <a16:creationId xmlns:a16="http://schemas.microsoft.com/office/drawing/2014/main" id="{B9215FC6-625D-4247-85D9-2583F78A935F}"/>
              </a:ext>
            </a:extLst>
          </p:cNvPr>
          <p:cNvSpPr txBox="1"/>
          <p:nvPr/>
        </p:nvSpPr>
        <p:spPr>
          <a:xfrm>
            <a:off x="1881308" y="5046023"/>
            <a:ext cx="16380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lpjk.pu.go.id</a:t>
            </a: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1F3368"/>
              </a:solidFill>
              <a:effectLst/>
              <a:uLnTx/>
              <a:uFillTx/>
              <a:latin typeface="Gotham" pitchFamily="50" charset="0"/>
              <a:ea typeface="+mn-ea"/>
              <a:cs typeface="+mn-cs"/>
            </a:endParaRPr>
          </a:p>
        </p:txBody>
      </p:sp>
      <p:sp>
        <p:nvSpPr>
          <p:cNvPr id="39" name="Kotak Teks 38">
            <a:extLst>
              <a:ext uri="{FF2B5EF4-FFF2-40B4-BE49-F238E27FC236}">
                <a16:creationId xmlns:a16="http://schemas.microsoft.com/office/drawing/2014/main" id="{AC82641A-CB24-45FD-99A7-653C35ECDD5D}"/>
              </a:ext>
            </a:extLst>
          </p:cNvPr>
          <p:cNvSpPr txBox="1"/>
          <p:nvPr/>
        </p:nvSpPr>
        <p:spPr>
          <a:xfrm>
            <a:off x="4047395" y="5076503"/>
            <a:ext cx="14712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PUPR.LPJK</a:t>
            </a: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1F3368"/>
              </a:solidFill>
              <a:effectLst/>
              <a:uLnTx/>
              <a:uFillTx/>
              <a:latin typeface="Gotham" pitchFamily="50" charset="0"/>
              <a:ea typeface="+mn-ea"/>
              <a:cs typeface="+mn-cs"/>
            </a:endParaRPr>
          </a:p>
        </p:txBody>
      </p:sp>
      <p:sp>
        <p:nvSpPr>
          <p:cNvPr id="40" name="Kotak Teks 39">
            <a:extLst>
              <a:ext uri="{FF2B5EF4-FFF2-40B4-BE49-F238E27FC236}">
                <a16:creationId xmlns:a16="http://schemas.microsoft.com/office/drawing/2014/main" id="{64E84E86-6ACF-46F0-A428-425DB576048F}"/>
              </a:ext>
            </a:extLst>
          </p:cNvPr>
          <p:cNvSpPr txBox="1"/>
          <p:nvPr/>
        </p:nvSpPr>
        <p:spPr>
          <a:xfrm>
            <a:off x="1056190" y="566788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pupr_lpjk</a:t>
            </a: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1F3368"/>
              </a:solidFill>
              <a:effectLst/>
              <a:uLnTx/>
              <a:uFillTx/>
              <a:latin typeface="Gotham" pitchFamily="50" charset="0"/>
              <a:ea typeface="+mn-ea"/>
              <a:cs typeface="+mn-cs"/>
            </a:endParaRPr>
          </a:p>
        </p:txBody>
      </p:sp>
      <p:pic>
        <p:nvPicPr>
          <p:cNvPr id="46" name="Picture 6" descr="lgo sigap.png">
            <a:extLst>
              <a:ext uri="{FF2B5EF4-FFF2-40B4-BE49-F238E27FC236}">
                <a16:creationId xmlns:a16="http://schemas.microsoft.com/office/drawing/2014/main" id="{A70A94D1-2BB4-4B44-A968-23BACCB2EE8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85233" y="1"/>
            <a:ext cx="2006767" cy="773722"/>
          </a:xfrm>
          <a:prstGeom prst="rect">
            <a:avLst/>
          </a:prstGeom>
        </p:spPr>
      </p:pic>
      <p:sp>
        <p:nvSpPr>
          <p:cNvPr id="47" name="Kotak Teks 46">
            <a:extLst>
              <a:ext uri="{FF2B5EF4-FFF2-40B4-BE49-F238E27FC236}">
                <a16:creationId xmlns:a16="http://schemas.microsoft.com/office/drawing/2014/main" id="{F831556C-91E3-4580-83C9-08169AEADDFE}"/>
              </a:ext>
            </a:extLst>
          </p:cNvPr>
          <p:cNvSpPr txBox="1"/>
          <p:nvPr/>
        </p:nvSpPr>
        <p:spPr>
          <a:xfrm>
            <a:off x="7255672" y="4614838"/>
            <a:ext cx="51660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-3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TERIMA KASIH</a:t>
            </a:r>
          </a:p>
        </p:txBody>
      </p:sp>
      <p:sp>
        <p:nvSpPr>
          <p:cNvPr id="22" name="Kotak Teks 29">
            <a:extLst>
              <a:ext uri="{FF2B5EF4-FFF2-40B4-BE49-F238E27FC236}">
                <a16:creationId xmlns:a16="http://schemas.microsoft.com/office/drawing/2014/main" id="{71159609-AB77-4DE4-8408-2F0729939B17}"/>
              </a:ext>
            </a:extLst>
          </p:cNvPr>
          <p:cNvSpPr txBox="1"/>
          <p:nvPr/>
        </p:nvSpPr>
        <p:spPr>
          <a:xfrm>
            <a:off x="480407" y="4240458"/>
            <a:ext cx="36551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  <a:hlinkClick r:id="rId9"/>
              </a:rPr>
              <a:t>sekretariatlpjk@pu.go.id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 |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(021)72789126</a:t>
            </a:r>
            <a:endParaRPr kumimoji="0" lang="id-ID" sz="1600" b="0" i="0" u="none" strike="noStrike" kern="1200" cap="none" spc="0" normalizeH="0" baseline="0" noProof="0">
              <a:ln>
                <a:noFill/>
              </a:ln>
              <a:solidFill>
                <a:srgbClr val="1F3368"/>
              </a:solidFill>
              <a:effectLst/>
              <a:uLnTx/>
              <a:uFillTx/>
              <a:latin typeface="Gotham" pitchFamily="50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 </a:t>
            </a: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1F3368"/>
              </a:solidFill>
              <a:effectLst/>
              <a:uLnTx/>
              <a:uFillTx/>
              <a:latin typeface="Gotham" pitchFamily="50" charset="0"/>
              <a:ea typeface="+mn-ea"/>
              <a:cs typeface="+mn-cs"/>
            </a:endParaRPr>
          </a:p>
        </p:txBody>
      </p:sp>
      <p:sp>
        <p:nvSpPr>
          <p:cNvPr id="24" name="Kotak Teks 40">
            <a:extLst>
              <a:ext uri="{FF2B5EF4-FFF2-40B4-BE49-F238E27FC236}">
                <a16:creationId xmlns:a16="http://schemas.microsoft.com/office/drawing/2014/main" id="{ECFD015C-4986-4699-B45C-58A13C8831A2}"/>
              </a:ext>
            </a:extLst>
          </p:cNvPr>
          <p:cNvSpPr txBox="1"/>
          <p:nvPr/>
        </p:nvSpPr>
        <p:spPr>
          <a:xfrm>
            <a:off x="4817158" y="5682447"/>
            <a:ext cx="1402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PUPR_LPJK</a:t>
            </a: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1F3368"/>
              </a:solidFill>
              <a:effectLst/>
              <a:uLnTx/>
              <a:uFillTx/>
              <a:latin typeface="Gotham" pitchFamily="50" charset="0"/>
              <a:ea typeface="+mn-ea"/>
              <a:cs typeface="+mn-cs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8695" y="4290003"/>
            <a:ext cx="440050" cy="400746"/>
          </a:xfrm>
          <a:prstGeom prst="rect">
            <a:avLst/>
          </a:prstGeom>
        </p:spPr>
      </p:pic>
      <p:sp>
        <p:nvSpPr>
          <p:cNvPr id="28" name="Kotak Teks 29">
            <a:extLst>
              <a:ext uri="{FF2B5EF4-FFF2-40B4-BE49-F238E27FC236}">
                <a16:creationId xmlns:a16="http://schemas.microsoft.com/office/drawing/2014/main" id="{71159609-AB77-4DE4-8408-2F0729939B17}"/>
              </a:ext>
            </a:extLst>
          </p:cNvPr>
          <p:cNvSpPr txBox="1"/>
          <p:nvPr/>
        </p:nvSpPr>
        <p:spPr>
          <a:xfrm>
            <a:off x="4425769" y="4234656"/>
            <a:ext cx="28126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Jl.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Wijaya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 I No. 68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Kebayoran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Baru,Jakarta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 Selatan, Indonesia, 12110</a:t>
            </a:r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srgbClr val="1F3368"/>
              </a:solidFill>
              <a:effectLst/>
              <a:uLnTx/>
              <a:uFillTx/>
              <a:latin typeface="Gotham" pitchFamily="50" charset="0"/>
              <a:ea typeface="+mn-ea"/>
              <a:cs typeface="+mn-cs"/>
            </a:endParaRPr>
          </a:p>
        </p:txBody>
      </p:sp>
      <p:pic>
        <p:nvPicPr>
          <p:cNvPr id="29" name="Gambar 35">
            <a:extLst>
              <a:ext uri="{FF2B5EF4-FFF2-40B4-BE49-F238E27FC236}">
                <a16:creationId xmlns:a16="http://schemas.microsoft.com/office/drawing/2014/main" id="{3F8F70A5-8547-43DD-B32F-A746E403023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8548" y="5667880"/>
            <a:ext cx="480397" cy="444943"/>
          </a:xfrm>
          <a:prstGeom prst="rect">
            <a:avLst/>
          </a:prstGeom>
        </p:spPr>
      </p:pic>
      <p:sp>
        <p:nvSpPr>
          <p:cNvPr id="30" name="Kotak Teks 40">
            <a:extLst>
              <a:ext uri="{FF2B5EF4-FFF2-40B4-BE49-F238E27FC236}">
                <a16:creationId xmlns:a16="http://schemas.microsoft.com/office/drawing/2014/main" id="{ECFD015C-4986-4699-B45C-58A13C8831A2}"/>
              </a:ext>
            </a:extLst>
          </p:cNvPr>
          <p:cNvSpPr txBox="1"/>
          <p:nvPr/>
        </p:nvSpPr>
        <p:spPr>
          <a:xfrm>
            <a:off x="2778145" y="5667880"/>
            <a:ext cx="1402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PUPR_LPJK</a:t>
            </a: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1F3368"/>
              </a:solidFill>
              <a:effectLst/>
              <a:uLnTx/>
              <a:uFillTx/>
              <a:latin typeface="Gotham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18512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B424C44F-ACD1-E9BE-9AEA-57DF5230F3E6}"/>
              </a:ext>
            </a:extLst>
          </p:cNvPr>
          <p:cNvGrpSpPr/>
          <p:nvPr/>
        </p:nvGrpSpPr>
        <p:grpSpPr>
          <a:xfrm>
            <a:off x="2231572" y="1812908"/>
            <a:ext cx="2438503" cy="2096371"/>
            <a:chOff x="728131" y="2276872"/>
            <a:chExt cx="2763749" cy="2592288"/>
          </a:xfrm>
        </p:grpSpPr>
        <p:sp>
          <p:nvSpPr>
            <p:cNvPr id="39" name="Block Arc 38">
              <a:extLst>
                <a:ext uri="{FF2B5EF4-FFF2-40B4-BE49-F238E27FC236}">
                  <a16:creationId xmlns:a16="http://schemas.microsoft.com/office/drawing/2014/main" id="{F561E77F-8ED2-4C48-5495-ED1057F8286A}"/>
                </a:ext>
              </a:extLst>
            </p:cNvPr>
            <p:cNvSpPr/>
            <p:nvPr/>
          </p:nvSpPr>
          <p:spPr>
            <a:xfrm>
              <a:off x="899592" y="2276872"/>
              <a:ext cx="2592288" cy="2592288"/>
            </a:xfrm>
            <a:prstGeom prst="blockArc">
              <a:avLst>
                <a:gd name="adj1" fmla="val 12214054"/>
                <a:gd name="adj2" fmla="val 9664598"/>
                <a:gd name="adj3" fmla="val 14811"/>
              </a:avLst>
            </a:prstGeom>
            <a:solidFill>
              <a:srgbClr val="174A9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42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D772E16D-39F2-36FD-1DB0-D1A23D919F8E}"/>
                </a:ext>
              </a:extLst>
            </p:cNvPr>
            <p:cNvSpPr txBox="1"/>
            <p:nvPr/>
          </p:nvSpPr>
          <p:spPr>
            <a:xfrm>
              <a:off x="728131" y="3185927"/>
              <a:ext cx="704459" cy="608935"/>
            </a:xfrm>
            <a:prstGeom prst="rect">
              <a:avLst/>
            </a:prstGeom>
            <a:noFill/>
          </p:spPr>
          <p:txBody>
            <a:bodyPr wrap="square" rIns="0" rtlCol="0">
              <a:spAutoFit/>
            </a:bodyPr>
            <a:lstStyle/>
            <a:p>
              <a:pPr marL="0" marR="0" lvl="0" indent="0" algn="ctr" defTabSz="742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2600" b="1" i="0" u="none" strike="noStrike" kern="0" cap="none" spc="0" normalizeH="0" baseline="0" noProof="0" dirty="0">
                  <a:ln>
                    <a:noFill/>
                  </a:ln>
                  <a:solidFill>
                    <a:srgbClr val="174A90"/>
                  </a:solidFill>
                  <a:effectLst/>
                  <a:uLnTx/>
                  <a:uFillTx/>
                  <a:latin typeface="Century Gothic" charset="0"/>
                  <a:ea typeface="Century Gothic" charset="0"/>
                  <a:cs typeface="Century Gothic" charset="0"/>
                </a:rPr>
                <a:t>01</a:t>
              </a:r>
              <a:endParaRPr kumimoji="0" lang="ko-KR" altLang="en-US" sz="2600" b="1" i="0" u="none" strike="noStrike" kern="0" cap="none" spc="0" normalizeH="0" baseline="0" noProof="0" dirty="0">
                <a:ln>
                  <a:noFill/>
                </a:ln>
                <a:solidFill>
                  <a:srgbClr val="174A90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C3BC8F7-17EF-65FC-AFED-F6135217C884}"/>
              </a:ext>
            </a:extLst>
          </p:cNvPr>
          <p:cNvGrpSpPr/>
          <p:nvPr/>
        </p:nvGrpSpPr>
        <p:grpSpPr>
          <a:xfrm>
            <a:off x="7524920" y="1811789"/>
            <a:ext cx="2438503" cy="2096371"/>
            <a:chOff x="728131" y="2276872"/>
            <a:chExt cx="2763749" cy="2592288"/>
          </a:xfrm>
        </p:grpSpPr>
        <p:sp>
          <p:nvSpPr>
            <p:cNvPr id="37" name="Block Arc 36">
              <a:extLst>
                <a:ext uri="{FF2B5EF4-FFF2-40B4-BE49-F238E27FC236}">
                  <a16:creationId xmlns:a16="http://schemas.microsoft.com/office/drawing/2014/main" id="{D6360BC0-4EB3-7669-AE9E-91F6CF0AEC5B}"/>
                </a:ext>
              </a:extLst>
            </p:cNvPr>
            <p:cNvSpPr/>
            <p:nvPr/>
          </p:nvSpPr>
          <p:spPr>
            <a:xfrm>
              <a:off x="899592" y="2276872"/>
              <a:ext cx="2592288" cy="2592288"/>
            </a:xfrm>
            <a:prstGeom prst="blockArc">
              <a:avLst>
                <a:gd name="adj1" fmla="val 12214054"/>
                <a:gd name="adj2" fmla="val 9664598"/>
                <a:gd name="adj3" fmla="val 14811"/>
              </a:avLst>
            </a:prstGeom>
            <a:solidFill>
              <a:srgbClr val="24A8C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42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5C91C3D1-5EC0-6F2C-334E-D697B1800CA9}"/>
                </a:ext>
              </a:extLst>
            </p:cNvPr>
            <p:cNvSpPr txBox="1"/>
            <p:nvPr/>
          </p:nvSpPr>
          <p:spPr>
            <a:xfrm>
              <a:off x="728131" y="3185927"/>
              <a:ext cx="704459" cy="608935"/>
            </a:xfrm>
            <a:prstGeom prst="rect">
              <a:avLst/>
            </a:prstGeom>
            <a:noFill/>
          </p:spPr>
          <p:txBody>
            <a:bodyPr wrap="square" rIns="0" rtlCol="0">
              <a:spAutoFit/>
            </a:bodyPr>
            <a:lstStyle/>
            <a:p>
              <a:pPr marL="0" marR="0" lvl="0" indent="0" algn="ctr" defTabSz="742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2600" b="1" i="0" u="none" strike="noStrike" kern="0" cap="none" spc="0" normalizeH="0" baseline="0" noProof="0" dirty="0">
                  <a:ln>
                    <a:noFill/>
                  </a:ln>
                  <a:solidFill>
                    <a:srgbClr val="24A8C2"/>
                  </a:solidFill>
                  <a:effectLst/>
                  <a:uLnTx/>
                  <a:uFillTx/>
                  <a:latin typeface="Century Gothic" charset="0"/>
                  <a:ea typeface="Century Gothic" charset="0"/>
                  <a:cs typeface="Century Gothic" charset="0"/>
                </a:rPr>
                <a:t>02</a:t>
              </a:r>
              <a:endParaRPr kumimoji="0" lang="ko-KR" altLang="en-US" sz="2600" b="1" i="0" u="none" strike="noStrike" kern="0" cap="none" spc="0" normalizeH="0" baseline="0" noProof="0" dirty="0">
                <a:ln>
                  <a:noFill/>
                </a:ln>
                <a:solidFill>
                  <a:srgbClr val="24A8C2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</p:grpSp>
      <p:sp>
        <p:nvSpPr>
          <p:cNvPr id="28" name="Rounded Rectangle 51">
            <a:extLst>
              <a:ext uri="{FF2B5EF4-FFF2-40B4-BE49-F238E27FC236}">
                <a16:creationId xmlns:a16="http://schemas.microsoft.com/office/drawing/2014/main" id="{4D3AC130-12DF-50BA-0B64-1F9C45B60AA2}"/>
              </a:ext>
            </a:extLst>
          </p:cNvPr>
          <p:cNvSpPr/>
          <p:nvPr/>
        </p:nvSpPr>
        <p:spPr>
          <a:xfrm rot="16200000" flipH="1">
            <a:off x="8281308" y="2313976"/>
            <a:ext cx="989803" cy="956900"/>
          </a:xfrm>
          <a:custGeom>
            <a:avLst/>
            <a:gdLst/>
            <a:ahLst/>
            <a:cxnLst/>
            <a:rect l="l" t="t" r="r" b="b"/>
            <a:pathLst>
              <a:path w="2928608" h="2758049">
                <a:moveTo>
                  <a:pt x="2797052" y="1199936"/>
                </a:moveTo>
                <a:lnTo>
                  <a:pt x="2797052" y="1541978"/>
                </a:lnTo>
                <a:cubicBezTo>
                  <a:pt x="2797052" y="1578306"/>
                  <a:pt x="2826502" y="1607756"/>
                  <a:pt x="2862830" y="1607756"/>
                </a:cubicBezTo>
                <a:lnTo>
                  <a:pt x="2862830" y="1607755"/>
                </a:lnTo>
                <a:cubicBezTo>
                  <a:pt x="2899158" y="1607755"/>
                  <a:pt x="2928608" y="1578305"/>
                  <a:pt x="2928608" y="1541977"/>
                </a:cubicBezTo>
                <a:lnTo>
                  <a:pt x="2928607" y="1199936"/>
                </a:lnTo>
                <a:cubicBezTo>
                  <a:pt x="2928607" y="1163608"/>
                  <a:pt x="2899158" y="1134159"/>
                  <a:pt x="2862830" y="1134158"/>
                </a:cubicBezTo>
                <a:cubicBezTo>
                  <a:pt x="2826502" y="1134159"/>
                  <a:pt x="2797052" y="1163608"/>
                  <a:pt x="2797052" y="1199936"/>
                </a:cubicBezTo>
                <a:close/>
                <a:moveTo>
                  <a:pt x="2593193" y="1147315"/>
                </a:moveTo>
                <a:lnTo>
                  <a:pt x="2593193" y="1594601"/>
                </a:lnTo>
                <a:cubicBezTo>
                  <a:pt x="2593193" y="1630929"/>
                  <a:pt x="2622643" y="1660379"/>
                  <a:pt x="2658971" y="1660379"/>
                </a:cubicBezTo>
                <a:lnTo>
                  <a:pt x="2658971" y="1660378"/>
                </a:lnTo>
                <a:cubicBezTo>
                  <a:pt x="2695299" y="1660378"/>
                  <a:pt x="2724749" y="1630928"/>
                  <a:pt x="2724749" y="1594600"/>
                </a:cubicBezTo>
                <a:lnTo>
                  <a:pt x="2724748" y="1147315"/>
                </a:lnTo>
                <a:cubicBezTo>
                  <a:pt x="2724748" y="1110987"/>
                  <a:pt x="2695299" y="1081538"/>
                  <a:pt x="2658971" y="1081537"/>
                </a:cubicBezTo>
                <a:cubicBezTo>
                  <a:pt x="2622643" y="1081538"/>
                  <a:pt x="2593193" y="1110987"/>
                  <a:pt x="2593193" y="1147315"/>
                </a:cubicBezTo>
                <a:close/>
                <a:moveTo>
                  <a:pt x="2389334" y="1121004"/>
                </a:moveTo>
                <a:lnTo>
                  <a:pt x="2389334" y="1620912"/>
                </a:lnTo>
                <a:cubicBezTo>
                  <a:pt x="2389334" y="1657240"/>
                  <a:pt x="2418784" y="1686690"/>
                  <a:pt x="2455112" y="1686690"/>
                </a:cubicBezTo>
                <a:lnTo>
                  <a:pt x="2455112" y="1686689"/>
                </a:lnTo>
                <a:cubicBezTo>
                  <a:pt x="2491440" y="1686689"/>
                  <a:pt x="2520890" y="1657239"/>
                  <a:pt x="2520890" y="1620911"/>
                </a:cubicBezTo>
                <a:lnTo>
                  <a:pt x="2520889" y="1121004"/>
                </a:lnTo>
                <a:cubicBezTo>
                  <a:pt x="2520889" y="1084676"/>
                  <a:pt x="2491440" y="1055227"/>
                  <a:pt x="2455112" y="1055226"/>
                </a:cubicBezTo>
                <a:cubicBezTo>
                  <a:pt x="2418784" y="1055227"/>
                  <a:pt x="2389334" y="1084676"/>
                  <a:pt x="2389334" y="1121004"/>
                </a:cubicBezTo>
                <a:close/>
                <a:moveTo>
                  <a:pt x="1314382" y="1247024"/>
                </a:moveTo>
                <a:cubicBezTo>
                  <a:pt x="1314381" y="1225915"/>
                  <a:pt x="1331494" y="1208803"/>
                  <a:pt x="1352603" y="1208803"/>
                </a:cubicBezTo>
                <a:lnTo>
                  <a:pt x="1410313" y="1208803"/>
                </a:lnTo>
                <a:lnTo>
                  <a:pt x="1410313" y="1146778"/>
                </a:lnTo>
                <a:cubicBezTo>
                  <a:pt x="1410313" y="1145599"/>
                  <a:pt x="1410393" y="1144438"/>
                  <a:pt x="1411688" y="1143457"/>
                </a:cubicBezTo>
                <a:lnTo>
                  <a:pt x="1408531" y="1133444"/>
                </a:lnTo>
                <a:cubicBezTo>
                  <a:pt x="1410371" y="1112415"/>
                  <a:pt x="1428909" y="1096860"/>
                  <a:pt x="1449938" y="1098699"/>
                </a:cubicBezTo>
                <a:lnTo>
                  <a:pt x="2236821" y="1167543"/>
                </a:lnTo>
                <a:cubicBezTo>
                  <a:pt x="2257849" y="1169383"/>
                  <a:pt x="2273405" y="1187920"/>
                  <a:pt x="2271565" y="1208950"/>
                </a:cubicBezTo>
                <a:cubicBezTo>
                  <a:pt x="2269725" y="1229978"/>
                  <a:pt x="2251187" y="1245533"/>
                  <a:pt x="2230159" y="1243693"/>
                </a:cubicBezTo>
                <a:cubicBezTo>
                  <a:pt x="1973864" y="1221271"/>
                  <a:pt x="1717570" y="1198849"/>
                  <a:pt x="1461275" y="1176426"/>
                </a:cubicBezTo>
                <a:lnTo>
                  <a:pt x="1461274" y="1208803"/>
                </a:lnTo>
                <a:lnTo>
                  <a:pt x="1518985" y="1208803"/>
                </a:lnTo>
                <a:cubicBezTo>
                  <a:pt x="1540095" y="1208802"/>
                  <a:pt x="1557205" y="1225915"/>
                  <a:pt x="1557206" y="1247025"/>
                </a:cubicBezTo>
                <a:lnTo>
                  <a:pt x="1557207" y="1247023"/>
                </a:lnTo>
                <a:cubicBezTo>
                  <a:pt x="1557207" y="1268132"/>
                  <a:pt x="1540095" y="1285244"/>
                  <a:pt x="1518986" y="1285244"/>
                </a:cubicBezTo>
                <a:cubicBezTo>
                  <a:pt x="1499749" y="1285244"/>
                  <a:pt x="1480511" y="1285243"/>
                  <a:pt x="1461275" y="1285244"/>
                </a:cubicBezTo>
                <a:lnTo>
                  <a:pt x="1461275" y="1337600"/>
                </a:lnTo>
                <a:lnTo>
                  <a:pt x="1518985" y="1337600"/>
                </a:lnTo>
                <a:cubicBezTo>
                  <a:pt x="1540095" y="1337600"/>
                  <a:pt x="1557206" y="1354713"/>
                  <a:pt x="1557206" y="1375821"/>
                </a:cubicBezTo>
                <a:lnTo>
                  <a:pt x="1557207" y="1375820"/>
                </a:lnTo>
                <a:cubicBezTo>
                  <a:pt x="1557206" y="1396928"/>
                  <a:pt x="1540095" y="1414041"/>
                  <a:pt x="1518986" y="1414041"/>
                </a:cubicBezTo>
                <a:cubicBezTo>
                  <a:pt x="1499750" y="1414041"/>
                  <a:pt x="1480511" y="1414041"/>
                  <a:pt x="1461275" y="1414042"/>
                </a:cubicBezTo>
                <a:lnTo>
                  <a:pt x="1461275" y="1466398"/>
                </a:lnTo>
                <a:lnTo>
                  <a:pt x="1518985" y="1466398"/>
                </a:lnTo>
                <a:cubicBezTo>
                  <a:pt x="1540095" y="1466398"/>
                  <a:pt x="1557206" y="1483509"/>
                  <a:pt x="1557206" y="1504618"/>
                </a:cubicBezTo>
                <a:lnTo>
                  <a:pt x="1557207" y="1504619"/>
                </a:lnTo>
                <a:cubicBezTo>
                  <a:pt x="1557207" y="1525727"/>
                  <a:pt x="1540094" y="1542838"/>
                  <a:pt x="1518986" y="1542839"/>
                </a:cubicBezTo>
                <a:cubicBezTo>
                  <a:pt x="1499749" y="1542839"/>
                  <a:pt x="1480511" y="1542838"/>
                  <a:pt x="1461275" y="1542839"/>
                </a:cubicBezTo>
                <a:lnTo>
                  <a:pt x="1461274" y="1575412"/>
                </a:lnTo>
                <a:lnTo>
                  <a:pt x="2226550" y="1494978"/>
                </a:lnTo>
                <a:cubicBezTo>
                  <a:pt x="2247542" y="1492772"/>
                  <a:pt x="2266350" y="1508001"/>
                  <a:pt x="2268556" y="1528995"/>
                </a:cubicBezTo>
                <a:cubicBezTo>
                  <a:pt x="2270763" y="1549988"/>
                  <a:pt x="2255534" y="1568794"/>
                  <a:pt x="2234542" y="1571000"/>
                </a:cubicBezTo>
                <a:cubicBezTo>
                  <a:pt x="1972686" y="1598522"/>
                  <a:pt x="1710833" y="1626046"/>
                  <a:pt x="1448978" y="1653567"/>
                </a:cubicBezTo>
                <a:cubicBezTo>
                  <a:pt x="1427984" y="1655774"/>
                  <a:pt x="1409178" y="1640544"/>
                  <a:pt x="1406971" y="1619551"/>
                </a:cubicBezTo>
                <a:cubicBezTo>
                  <a:pt x="1406474" y="1614827"/>
                  <a:pt x="1406862" y="1610214"/>
                  <a:pt x="1410805" y="1606610"/>
                </a:cubicBezTo>
                <a:lnTo>
                  <a:pt x="1410312" y="1605422"/>
                </a:lnTo>
                <a:lnTo>
                  <a:pt x="1410312" y="1542839"/>
                </a:lnTo>
                <a:lnTo>
                  <a:pt x="1352603" y="1542841"/>
                </a:lnTo>
                <a:cubicBezTo>
                  <a:pt x="1331494" y="1542841"/>
                  <a:pt x="1314382" y="1525729"/>
                  <a:pt x="1314382" y="1504619"/>
                </a:cubicBezTo>
                <a:cubicBezTo>
                  <a:pt x="1314382" y="1483510"/>
                  <a:pt x="1331493" y="1466397"/>
                  <a:pt x="1352603" y="1466398"/>
                </a:cubicBezTo>
                <a:lnTo>
                  <a:pt x="1410312" y="1466398"/>
                </a:lnTo>
                <a:lnTo>
                  <a:pt x="1410313" y="1414042"/>
                </a:lnTo>
                <a:lnTo>
                  <a:pt x="1352603" y="1414042"/>
                </a:lnTo>
                <a:cubicBezTo>
                  <a:pt x="1331494" y="1414041"/>
                  <a:pt x="1314383" y="1396930"/>
                  <a:pt x="1314382" y="1375820"/>
                </a:cubicBezTo>
                <a:cubicBezTo>
                  <a:pt x="1314383" y="1354713"/>
                  <a:pt x="1331494" y="1337600"/>
                  <a:pt x="1352603" y="1337601"/>
                </a:cubicBezTo>
                <a:lnTo>
                  <a:pt x="1410312" y="1337600"/>
                </a:lnTo>
                <a:lnTo>
                  <a:pt x="1410312" y="1285244"/>
                </a:lnTo>
                <a:lnTo>
                  <a:pt x="1352603" y="1285244"/>
                </a:lnTo>
                <a:cubicBezTo>
                  <a:pt x="1331494" y="1285244"/>
                  <a:pt x="1314381" y="1268133"/>
                  <a:pt x="1314382" y="1247024"/>
                </a:cubicBezTo>
                <a:close/>
                <a:moveTo>
                  <a:pt x="1171967" y="72000"/>
                </a:moveTo>
                <a:lnTo>
                  <a:pt x="1171967" y="288000"/>
                </a:lnTo>
                <a:cubicBezTo>
                  <a:pt x="1171967" y="327765"/>
                  <a:pt x="1204202" y="360000"/>
                  <a:pt x="1243967" y="360000"/>
                </a:cubicBezTo>
                <a:cubicBezTo>
                  <a:pt x="1283732" y="360000"/>
                  <a:pt x="1315967" y="327765"/>
                  <a:pt x="1315967" y="288000"/>
                </a:cubicBezTo>
                <a:lnTo>
                  <a:pt x="1315967" y="72000"/>
                </a:lnTo>
                <a:cubicBezTo>
                  <a:pt x="1315967" y="32235"/>
                  <a:pt x="1283732" y="0"/>
                  <a:pt x="1243967" y="0"/>
                </a:cubicBezTo>
                <a:cubicBezTo>
                  <a:pt x="1204202" y="0"/>
                  <a:pt x="1171967" y="32235"/>
                  <a:pt x="1171967" y="72000"/>
                </a:cubicBezTo>
                <a:close/>
                <a:moveTo>
                  <a:pt x="1171966" y="2470049"/>
                </a:moveTo>
                <a:lnTo>
                  <a:pt x="1171966" y="2686049"/>
                </a:lnTo>
                <a:cubicBezTo>
                  <a:pt x="1171966" y="2725814"/>
                  <a:pt x="1204201" y="2758049"/>
                  <a:pt x="1243966" y="2758049"/>
                </a:cubicBezTo>
                <a:cubicBezTo>
                  <a:pt x="1283731" y="2758049"/>
                  <a:pt x="1315966" y="2725814"/>
                  <a:pt x="1315966" y="2686049"/>
                </a:cubicBezTo>
                <a:lnTo>
                  <a:pt x="1315966" y="2470049"/>
                </a:lnTo>
                <a:cubicBezTo>
                  <a:pt x="1315966" y="2430284"/>
                  <a:pt x="1283731" y="2398049"/>
                  <a:pt x="1243966" y="2398049"/>
                </a:cubicBezTo>
                <a:cubicBezTo>
                  <a:pt x="1204201" y="2398049"/>
                  <a:pt x="1171966" y="2430284"/>
                  <a:pt x="1171966" y="2470049"/>
                </a:cubicBezTo>
                <a:close/>
                <a:moveTo>
                  <a:pt x="515345" y="1370958"/>
                </a:moveTo>
                <a:cubicBezTo>
                  <a:pt x="515344" y="1558300"/>
                  <a:pt x="586814" y="1745642"/>
                  <a:pt x="729750" y="1888579"/>
                </a:cubicBezTo>
                <a:cubicBezTo>
                  <a:pt x="1015625" y="2174454"/>
                  <a:pt x="1479119" y="2174454"/>
                  <a:pt x="1764994" y="1888580"/>
                </a:cubicBezTo>
                <a:lnTo>
                  <a:pt x="1940572" y="1713001"/>
                </a:lnTo>
                <a:lnTo>
                  <a:pt x="2136413" y="1713002"/>
                </a:lnTo>
                <a:cubicBezTo>
                  <a:pt x="2215124" y="1713001"/>
                  <a:pt x="2278929" y="1649195"/>
                  <a:pt x="2278929" y="1570486"/>
                </a:cubicBezTo>
                <a:lnTo>
                  <a:pt x="2278929" y="1374645"/>
                </a:lnTo>
                <a:lnTo>
                  <a:pt x="2282614" y="1370959"/>
                </a:lnTo>
                <a:lnTo>
                  <a:pt x="2278929" y="1367272"/>
                </a:lnTo>
                <a:lnTo>
                  <a:pt x="2278929" y="1171432"/>
                </a:lnTo>
                <a:cubicBezTo>
                  <a:pt x="2278929" y="1092722"/>
                  <a:pt x="2215123" y="1028916"/>
                  <a:pt x="2136413" y="1028916"/>
                </a:cubicBezTo>
                <a:lnTo>
                  <a:pt x="1940571" y="1028916"/>
                </a:lnTo>
                <a:cubicBezTo>
                  <a:pt x="1882045" y="970390"/>
                  <a:pt x="1823519" y="911862"/>
                  <a:pt x="1764993" y="853336"/>
                </a:cubicBezTo>
                <a:cubicBezTo>
                  <a:pt x="1479118" y="567461"/>
                  <a:pt x="1015625" y="567462"/>
                  <a:pt x="729750" y="853336"/>
                </a:cubicBezTo>
                <a:cubicBezTo>
                  <a:pt x="586813" y="996273"/>
                  <a:pt x="515344" y="1183616"/>
                  <a:pt x="515345" y="1370958"/>
                </a:cubicBezTo>
                <a:close/>
                <a:moveTo>
                  <a:pt x="388776" y="2386770"/>
                </a:moveTo>
                <a:cubicBezTo>
                  <a:pt x="388776" y="2405196"/>
                  <a:pt x="395805" y="2423622"/>
                  <a:pt x="409865" y="2437681"/>
                </a:cubicBezTo>
                <a:cubicBezTo>
                  <a:pt x="437983" y="2465800"/>
                  <a:pt x="483570" y="2465800"/>
                  <a:pt x="511688" y="2437681"/>
                </a:cubicBezTo>
                <a:lnTo>
                  <a:pt x="664423" y="2284946"/>
                </a:lnTo>
                <a:cubicBezTo>
                  <a:pt x="692541" y="2256828"/>
                  <a:pt x="692541" y="2211241"/>
                  <a:pt x="664423" y="2183123"/>
                </a:cubicBezTo>
                <a:cubicBezTo>
                  <a:pt x="636305" y="2155005"/>
                  <a:pt x="590718" y="2155005"/>
                  <a:pt x="562599" y="2183123"/>
                </a:cubicBezTo>
                <a:lnTo>
                  <a:pt x="409865" y="2335858"/>
                </a:lnTo>
                <a:cubicBezTo>
                  <a:pt x="395805" y="2349917"/>
                  <a:pt x="388776" y="2368343"/>
                  <a:pt x="388776" y="2386770"/>
                </a:cubicBezTo>
                <a:close/>
                <a:moveTo>
                  <a:pt x="388776" y="365689"/>
                </a:moveTo>
                <a:cubicBezTo>
                  <a:pt x="388776" y="384115"/>
                  <a:pt x="395805" y="402541"/>
                  <a:pt x="409865" y="416600"/>
                </a:cubicBezTo>
                <a:lnTo>
                  <a:pt x="562599" y="569335"/>
                </a:lnTo>
                <a:cubicBezTo>
                  <a:pt x="590718" y="597454"/>
                  <a:pt x="636305" y="597454"/>
                  <a:pt x="664423" y="569335"/>
                </a:cubicBezTo>
                <a:cubicBezTo>
                  <a:pt x="692541" y="541217"/>
                  <a:pt x="692541" y="495630"/>
                  <a:pt x="664423" y="467512"/>
                </a:cubicBezTo>
                <a:lnTo>
                  <a:pt x="511688" y="314777"/>
                </a:lnTo>
                <a:cubicBezTo>
                  <a:pt x="483570" y="286659"/>
                  <a:pt x="437983" y="286659"/>
                  <a:pt x="409865" y="314777"/>
                </a:cubicBezTo>
                <a:cubicBezTo>
                  <a:pt x="395805" y="328836"/>
                  <a:pt x="388776" y="347262"/>
                  <a:pt x="388776" y="365689"/>
                </a:cubicBezTo>
                <a:close/>
                <a:moveTo>
                  <a:pt x="0" y="1379024"/>
                </a:moveTo>
                <a:cubicBezTo>
                  <a:pt x="0" y="1418789"/>
                  <a:pt x="32235" y="1451024"/>
                  <a:pt x="72000" y="1451024"/>
                </a:cubicBezTo>
                <a:lnTo>
                  <a:pt x="288000" y="1451024"/>
                </a:lnTo>
                <a:cubicBezTo>
                  <a:pt x="327765" y="1451024"/>
                  <a:pt x="360000" y="1418789"/>
                  <a:pt x="360000" y="1379024"/>
                </a:cubicBezTo>
                <a:cubicBezTo>
                  <a:pt x="360000" y="1339259"/>
                  <a:pt x="327765" y="1307024"/>
                  <a:pt x="288000" y="1307024"/>
                </a:cubicBezTo>
                <a:lnTo>
                  <a:pt x="72000" y="1307024"/>
                </a:lnTo>
                <a:cubicBezTo>
                  <a:pt x="32235" y="1307024"/>
                  <a:pt x="0" y="1339259"/>
                  <a:pt x="0" y="1379024"/>
                </a:cubicBezTo>
                <a:close/>
              </a:path>
            </a:pathLst>
          </a:custGeom>
          <a:solidFill>
            <a:srgbClr val="24A8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46BB730-FB01-2643-BBF9-94A24A2346A0}"/>
              </a:ext>
            </a:extLst>
          </p:cNvPr>
          <p:cNvGrpSpPr/>
          <p:nvPr/>
        </p:nvGrpSpPr>
        <p:grpSpPr>
          <a:xfrm>
            <a:off x="3041191" y="2281873"/>
            <a:ext cx="970550" cy="1062713"/>
            <a:chOff x="7981066" y="2575110"/>
            <a:chExt cx="1017088" cy="1215057"/>
          </a:xfrm>
          <a:solidFill>
            <a:srgbClr val="82C650"/>
          </a:solidFill>
        </p:grpSpPr>
        <p:sp>
          <p:nvSpPr>
            <p:cNvPr id="35" name="Freeform: Shape 56">
              <a:extLst>
                <a:ext uri="{FF2B5EF4-FFF2-40B4-BE49-F238E27FC236}">
                  <a16:creationId xmlns:a16="http://schemas.microsoft.com/office/drawing/2014/main" id="{F4B3F94E-F5F5-8CFD-6B6D-DE641C993AB2}"/>
                </a:ext>
              </a:extLst>
            </p:cNvPr>
            <p:cNvSpPr/>
            <p:nvPr/>
          </p:nvSpPr>
          <p:spPr>
            <a:xfrm>
              <a:off x="7981066" y="2811194"/>
              <a:ext cx="1017088" cy="978973"/>
            </a:xfrm>
            <a:custGeom>
              <a:avLst/>
              <a:gdLst>
                <a:gd name="connsiteX0" fmla="*/ 1708938 w 2163080"/>
                <a:gd name="connsiteY0" fmla="*/ 2004560 h 2082019"/>
                <a:gd name="connsiteX1" fmla="*/ 1708938 w 2163080"/>
                <a:gd name="connsiteY1" fmla="*/ 2044384 h 2082019"/>
                <a:gd name="connsiteX2" fmla="*/ 2059441 w 2163080"/>
                <a:gd name="connsiteY2" fmla="*/ 2044384 h 2082019"/>
                <a:gd name="connsiteX3" fmla="*/ 2059441 w 2163080"/>
                <a:gd name="connsiteY3" fmla="*/ 2004560 h 2082019"/>
                <a:gd name="connsiteX4" fmla="*/ 1293406 w 2163080"/>
                <a:gd name="connsiteY4" fmla="*/ 2004560 h 2082019"/>
                <a:gd name="connsiteX5" fmla="*/ 1293406 w 2163080"/>
                <a:gd name="connsiteY5" fmla="*/ 2044384 h 2082019"/>
                <a:gd name="connsiteX6" fmla="*/ 1643909 w 2163080"/>
                <a:gd name="connsiteY6" fmla="*/ 2044384 h 2082019"/>
                <a:gd name="connsiteX7" fmla="*/ 1643909 w 2163080"/>
                <a:gd name="connsiteY7" fmla="*/ 2004560 h 2082019"/>
                <a:gd name="connsiteX8" fmla="*/ 1708938 w 2163080"/>
                <a:gd name="connsiteY8" fmla="*/ 1943463 h 2082019"/>
                <a:gd name="connsiteX9" fmla="*/ 1708938 w 2163080"/>
                <a:gd name="connsiteY9" fmla="*/ 1983287 h 2082019"/>
                <a:gd name="connsiteX10" fmla="*/ 2059441 w 2163080"/>
                <a:gd name="connsiteY10" fmla="*/ 1983287 h 2082019"/>
                <a:gd name="connsiteX11" fmla="*/ 2059441 w 2163080"/>
                <a:gd name="connsiteY11" fmla="*/ 1943463 h 2082019"/>
                <a:gd name="connsiteX12" fmla="*/ 1293406 w 2163080"/>
                <a:gd name="connsiteY12" fmla="*/ 1943463 h 2082019"/>
                <a:gd name="connsiteX13" fmla="*/ 1293406 w 2163080"/>
                <a:gd name="connsiteY13" fmla="*/ 1983287 h 2082019"/>
                <a:gd name="connsiteX14" fmla="*/ 1643909 w 2163080"/>
                <a:gd name="connsiteY14" fmla="*/ 1983287 h 2082019"/>
                <a:gd name="connsiteX15" fmla="*/ 1643909 w 2163080"/>
                <a:gd name="connsiteY15" fmla="*/ 1943463 h 2082019"/>
                <a:gd name="connsiteX16" fmla="*/ 1708938 w 2163080"/>
                <a:gd name="connsiteY16" fmla="*/ 1882367 h 2082019"/>
                <a:gd name="connsiteX17" fmla="*/ 1708938 w 2163080"/>
                <a:gd name="connsiteY17" fmla="*/ 1922191 h 2082019"/>
                <a:gd name="connsiteX18" fmla="*/ 2059441 w 2163080"/>
                <a:gd name="connsiteY18" fmla="*/ 1922191 h 2082019"/>
                <a:gd name="connsiteX19" fmla="*/ 2059441 w 2163080"/>
                <a:gd name="connsiteY19" fmla="*/ 1882367 h 2082019"/>
                <a:gd name="connsiteX20" fmla="*/ 1293406 w 2163080"/>
                <a:gd name="connsiteY20" fmla="*/ 1882367 h 2082019"/>
                <a:gd name="connsiteX21" fmla="*/ 1293406 w 2163080"/>
                <a:gd name="connsiteY21" fmla="*/ 1922191 h 2082019"/>
                <a:gd name="connsiteX22" fmla="*/ 1643909 w 2163080"/>
                <a:gd name="connsiteY22" fmla="*/ 1922191 h 2082019"/>
                <a:gd name="connsiteX23" fmla="*/ 1643909 w 2163080"/>
                <a:gd name="connsiteY23" fmla="*/ 1882367 h 2082019"/>
                <a:gd name="connsiteX24" fmla="*/ 1024178 w 2163080"/>
                <a:gd name="connsiteY24" fmla="*/ 1873675 h 2082019"/>
                <a:gd name="connsiteX25" fmla="*/ 1024178 w 2163080"/>
                <a:gd name="connsiteY25" fmla="*/ 1939321 h 2082019"/>
                <a:gd name="connsiteX26" fmla="*/ 1122274 w 2163080"/>
                <a:gd name="connsiteY26" fmla="*/ 1939321 h 2082019"/>
                <a:gd name="connsiteX27" fmla="*/ 1122274 w 2163080"/>
                <a:gd name="connsiteY27" fmla="*/ 1873675 h 2082019"/>
                <a:gd name="connsiteX28" fmla="*/ 840577 w 2163080"/>
                <a:gd name="connsiteY28" fmla="*/ 1873675 h 2082019"/>
                <a:gd name="connsiteX29" fmla="*/ 840577 w 2163080"/>
                <a:gd name="connsiteY29" fmla="*/ 1939321 h 2082019"/>
                <a:gd name="connsiteX30" fmla="*/ 938673 w 2163080"/>
                <a:gd name="connsiteY30" fmla="*/ 1939321 h 2082019"/>
                <a:gd name="connsiteX31" fmla="*/ 938673 w 2163080"/>
                <a:gd name="connsiteY31" fmla="*/ 1873675 h 2082019"/>
                <a:gd name="connsiteX32" fmla="*/ 656977 w 2163080"/>
                <a:gd name="connsiteY32" fmla="*/ 1873675 h 2082019"/>
                <a:gd name="connsiteX33" fmla="*/ 656977 w 2163080"/>
                <a:gd name="connsiteY33" fmla="*/ 1939321 h 2082019"/>
                <a:gd name="connsiteX34" fmla="*/ 755073 w 2163080"/>
                <a:gd name="connsiteY34" fmla="*/ 1939321 h 2082019"/>
                <a:gd name="connsiteX35" fmla="*/ 755073 w 2163080"/>
                <a:gd name="connsiteY35" fmla="*/ 1873675 h 2082019"/>
                <a:gd name="connsiteX36" fmla="*/ 1708938 w 2163080"/>
                <a:gd name="connsiteY36" fmla="*/ 1821270 h 2082019"/>
                <a:gd name="connsiteX37" fmla="*/ 1708938 w 2163080"/>
                <a:gd name="connsiteY37" fmla="*/ 1861094 h 2082019"/>
                <a:gd name="connsiteX38" fmla="*/ 2059441 w 2163080"/>
                <a:gd name="connsiteY38" fmla="*/ 1861094 h 2082019"/>
                <a:gd name="connsiteX39" fmla="*/ 2059441 w 2163080"/>
                <a:gd name="connsiteY39" fmla="*/ 1821270 h 2082019"/>
                <a:gd name="connsiteX40" fmla="*/ 1293406 w 2163080"/>
                <a:gd name="connsiteY40" fmla="*/ 1821270 h 2082019"/>
                <a:gd name="connsiteX41" fmla="*/ 1293406 w 2163080"/>
                <a:gd name="connsiteY41" fmla="*/ 1861094 h 2082019"/>
                <a:gd name="connsiteX42" fmla="*/ 1643909 w 2163080"/>
                <a:gd name="connsiteY42" fmla="*/ 1861094 h 2082019"/>
                <a:gd name="connsiteX43" fmla="*/ 1643909 w 2163080"/>
                <a:gd name="connsiteY43" fmla="*/ 1821270 h 2082019"/>
                <a:gd name="connsiteX44" fmla="*/ 1024178 w 2163080"/>
                <a:gd name="connsiteY44" fmla="*/ 1737466 h 2082019"/>
                <a:gd name="connsiteX45" fmla="*/ 1024178 w 2163080"/>
                <a:gd name="connsiteY45" fmla="*/ 1803112 h 2082019"/>
                <a:gd name="connsiteX46" fmla="*/ 1122274 w 2163080"/>
                <a:gd name="connsiteY46" fmla="*/ 1803112 h 2082019"/>
                <a:gd name="connsiteX47" fmla="*/ 1122274 w 2163080"/>
                <a:gd name="connsiteY47" fmla="*/ 1737466 h 2082019"/>
                <a:gd name="connsiteX48" fmla="*/ 840577 w 2163080"/>
                <a:gd name="connsiteY48" fmla="*/ 1737466 h 2082019"/>
                <a:gd name="connsiteX49" fmla="*/ 840577 w 2163080"/>
                <a:gd name="connsiteY49" fmla="*/ 1803112 h 2082019"/>
                <a:gd name="connsiteX50" fmla="*/ 938673 w 2163080"/>
                <a:gd name="connsiteY50" fmla="*/ 1803112 h 2082019"/>
                <a:gd name="connsiteX51" fmla="*/ 938673 w 2163080"/>
                <a:gd name="connsiteY51" fmla="*/ 1737466 h 2082019"/>
                <a:gd name="connsiteX52" fmla="*/ 656977 w 2163080"/>
                <a:gd name="connsiteY52" fmla="*/ 1737466 h 2082019"/>
                <a:gd name="connsiteX53" fmla="*/ 656977 w 2163080"/>
                <a:gd name="connsiteY53" fmla="*/ 1803112 h 2082019"/>
                <a:gd name="connsiteX54" fmla="*/ 755073 w 2163080"/>
                <a:gd name="connsiteY54" fmla="*/ 1803112 h 2082019"/>
                <a:gd name="connsiteX55" fmla="*/ 755073 w 2163080"/>
                <a:gd name="connsiteY55" fmla="*/ 1737466 h 2082019"/>
                <a:gd name="connsiteX56" fmla="*/ 1024178 w 2163080"/>
                <a:gd name="connsiteY56" fmla="*/ 1601257 h 2082019"/>
                <a:gd name="connsiteX57" fmla="*/ 1024178 w 2163080"/>
                <a:gd name="connsiteY57" fmla="*/ 1666903 h 2082019"/>
                <a:gd name="connsiteX58" fmla="*/ 1122274 w 2163080"/>
                <a:gd name="connsiteY58" fmla="*/ 1666903 h 2082019"/>
                <a:gd name="connsiteX59" fmla="*/ 1122274 w 2163080"/>
                <a:gd name="connsiteY59" fmla="*/ 1601257 h 2082019"/>
                <a:gd name="connsiteX60" fmla="*/ 840577 w 2163080"/>
                <a:gd name="connsiteY60" fmla="*/ 1601257 h 2082019"/>
                <a:gd name="connsiteX61" fmla="*/ 840577 w 2163080"/>
                <a:gd name="connsiteY61" fmla="*/ 1666903 h 2082019"/>
                <a:gd name="connsiteX62" fmla="*/ 938673 w 2163080"/>
                <a:gd name="connsiteY62" fmla="*/ 1666903 h 2082019"/>
                <a:gd name="connsiteX63" fmla="*/ 938673 w 2163080"/>
                <a:gd name="connsiteY63" fmla="*/ 1601257 h 2082019"/>
                <a:gd name="connsiteX64" fmla="*/ 656977 w 2163080"/>
                <a:gd name="connsiteY64" fmla="*/ 1601257 h 2082019"/>
                <a:gd name="connsiteX65" fmla="*/ 656977 w 2163080"/>
                <a:gd name="connsiteY65" fmla="*/ 1666903 h 2082019"/>
                <a:gd name="connsiteX66" fmla="*/ 755073 w 2163080"/>
                <a:gd name="connsiteY66" fmla="*/ 1666903 h 2082019"/>
                <a:gd name="connsiteX67" fmla="*/ 755073 w 2163080"/>
                <a:gd name="connsiteY67" fmla="*/ 1601257 h 2082019"/>
                <a:gd name="connsiteX68" fmla="*/ 1949811 w 2163080"/>
                <a:gd name="connsiteY68" fmla="*/ 1437108 h 2082019"/>
                <a:gd name="connsiteX69" fmla="*/ 1949811 w 2163080"/>
                <a:gd name="connsiteY69" fmla="*/ 1502754 h 2082019"/>
                <a:gd name="connsiteX70" fmla="*/ 2047907 w 2163080"/>
                <a:gd name="connsiteY70" fmla="*/ 1502754 h 2082019"/>
                <a:gd name="connsiteX71" fmla="*/ 2047907 w 2163080"/>
                <a:gd name="connsiteY71" fmla="*/ 1437108 h 2082019"/>
                <a:gd name="connsiteX72" fmla="*/ 1766210 w 2163080"/>
                <a:gd name="connsiteY72" fmla="*/ 1437108 h 2082019"/>
                <a:gd name="connsiteX73" fmla="*/ 1766210 w 2163080"/>
                <a:gd name="connsiteY73" fmla="*/ 1502754 h 2082019"/>
                <a:gd name="connsiteX74" fmla="*/ 1864306 w 2163080"/>
                <a:gd name="connsiteY74" fmla="*/ 1502754 h 2082019"/>
                <a:gd name="connsiteX75" fmla="*/ 1864306 w 2163080"/>
                <a:gd name="connsiteY75" fmla="*/ 1437108 h 2082019"/>
                <a:gd name="connsiteX76" fmla="*/ 1582610 w 2163080"/>
                <a:gd name="connsiteY76" fmla="*/ 1437108 h 2082019"/>
                <a:gd name="connsiteX77" fmla="*/ 1582610 w 2163080"/>
                <a:gd name="connsiteY77" fmla="*/ 1502754 h 2082019"/>
                <a:gd name="connsiteX78" fmla="*/ 1680706 w 2163080"/>
                <a:gd name="connsiteY78" fmla="*/ 1502754 h 2082019"/>
                <a:gd name="connsiteX79" fmla="*/ 1680706 w 2163080"/>
                <a:gd name="connsiteY79" fmla="*/ 1437108 h 2082019"/>
                <a:gd name="connsiteX80" fmla="*/ 1386037 w 2163080"/>
                <a:gd name="connsiteY80" fmla="*/ 1437108 h 2082019"/>
                <a:gd name="connsiteX81" fmla="*/ 1386037 w 2163080"/>
                <a:gd name="connsiteY81" fmla="*/ 1502754 h 2082019"/>
                <a:gd name="connsiteX82" fmla="*/ 1484133 w 2163080"/>
                <a:gd name="connsiteY82" fmla="*/ 1502754 h 2082019"/>
                <a:gd name="connsiteX83" fmla="*/ 1484133 w 2163080"/>
                <a:gd name="connsiteY83" fmla="*/ 1437108 h 2082019"/>
                <a:gd name="connsiteX84" fmla="*/ 1202437 w 2163080"/>
                <a:gd name="connsiteY84" fmla="*/ 1437108 h 2082019"/>
                <a:gd name="connsiteX85" fmla="*/ 1202437 w 2163080"/>
                <a:gd name="connsiteY85" fmla="*/ 1502754 h 2082019"/>
                <a:gd name="connsiteX86" fmla="*/ 1300533 w 2163080"/>
                <a:gd name="connsiteY86" fmla="*/ 1502754 h 2082019"/>
                <a:gd name="connsiteX87" fmla="*/ 1300533 w 2163080"/>
                <a:gd name="connsiteY87" fmla="*/ 1437108 h 2082019"/>
                <a:gd name="connsiteX88" fmla="*/ 1024178 w 2163080"/>
                <a:gd name="connsiteY88" fmla="*/ 1437108 h 2082019"/>
                <a:gd name="connsiteX89" fmla="*/ 1024178 w 2163080"/>
                <a:gd name="connsiteY89" fmla="*/ 1502754 h 2082019"/>
                <a:gd name="connsiteX90" fmla="*/ 1122274 w 2163080"/>
                <a:gd name="connsiteY90" fmla="*/ 1502754 h 2082019"/>
                <a:gd name="connsiteX91" fmla="*/ 1122274 w 2163080"/>
                <a:gd name="connsiteY91" fmla="*/ 1437108 h 2082019"/>
                <a:gd name="connsiteX92" fmla="*/ 840577 w 2163080"/>
                <a:gd name="connsiteY92" fmla="*/ 1437108 h 2082019"/>
                <a:gd name="connsiteX93" fmla="*/ 840577 w 2163080"/>
                <a:gd name="connsiteY93" fmla="*/ 1502754 h 2082019"/>
                <a:gd name="connsiteX94" fmla="*/ 938673 w 2163080"/>
                <a:gd name="connsiteY94" fmla="*/ 1502754 h 2082019"/>
                <a:gd name="connsiteX95" fmla="*/ 938673 w 2163080"/>
                <a:gd name="connsiteY95" fmla="*/ 1437108 h 2082019"/>
                <a:gd name="connsiteX96" fmla="*/ 656977 w 2163080"/>
                <a:gd name="connsiteY96" fmla="*/ 1437108 h 2082019"/>
                <a:gd name="connsiteX97" fmla="*/ 656977 w 2163080"/>
                <a:gd name="connsiteY97" fmla="*/ 1502754 h 2082019"/>
                <a:gd name="connsiteX98" fmla="*/ 755073 w 2163080"/>
                <a:gd name="connsiteY98" fmla="*/ 1502754 h 2082019"/>
                <a:gd name="connsiteX99" fmla="*/ 755073 w 2163080"/>
                <a:gd name="connsiteY99" fmla="*/ 1437108 h 2082019"/>
                <a:gd name="connsiteX100" fmla="*/ 1037978 w 2163080"/>
                <a:gd name="connsiteY100" fmla="*/ 331011 h 2082019"/>
                <a:gd name="connsiteX101" fmla="*/ 1037978 w 2163080"/>
                <a:gd name="connsiteY101" fmla="*/ 465308 h 2082019"/>
                <a:gd name="connsiteX102" fmla="*/ 1059098 w 2163080"/>
                <a:gd name="connsiteY102" fmla="*/ 468502 h 2082019"/>
                <a:gd name="connsiteX103" fmla="*/ 1162875 w 2163080"/>
                <a:gd name="connsiteY103" fmla="*/ 562591 h 2082019"/>
                <a:gd name="connsiteX104" fmla="*/ 1173239 w 2163080"/>
                <a:gd name="connsiteY104" fmla="*/ 613926 h 2082019"/>
                <a:gd name="connsiteX105" fmla="*/ 1175942 w 2163080"/>
                <a:gd name="connsiteY105" fmla="*/ 613926 h 2082019"/>
                <a:gd name="connsiteX106" fmla="*/ 1175942 w 2163080"/>
                <a:gd name="connsiteY106" fmla="*/ 627317 h 2082019"/>
                <a:gd name="connsiteX107" fmla="*/ 1175943 w 2163080"/>
                <a:gd name="connsiteY107" fmla="*/ 627321 h 2082019"/>
                <a:gd name="connsiteX108" fmla="*/ 1175942 w 2163080"/>
                <a:gd name="connsiteY108" fmla="*/ 1063497 h 2082019"/>
                <a:gd name="connsiteX109" fmla="*/ 1283069 w 2163080"/>
                <a:gd name="connsiteY109" fmla="*/ 1063497 h 2082019"/>
                <a:gd name="connsiteX110" fmla="*/ 1283069 w 2163080"/>
                <a:gd name="connsiteY110" fmla="*/ 627216 h 2082019"/>
                <a:gd name="connsiteX111" fmla="*/ 1384635 w 2163080"/>
                <a:gd name="connsiteY111" fmla="*/ 473988 h 2082019"/>
                <a:gd name="connsiteX112" fmla="*/ 1437863 w 2163080"/>
                <a:gd name="connsiteY112" fmla="*/ 463242 h 2082019"/>
                <a:gd name="connsiteX113" fmla="*/ 1437863 w 2163080"/>
                <a:gd name="connsiteY113" fmla="*/ 331011 h 2082019"/>
                <a:gd name="connsiteX114" fmla="*/ 785279 w 2163080"/>
                <a:gd name="connsiteY114" fmla="*/ 331011 h 2082019"/>
                <a:gd name="connsiteX115" fmla="*/ 785279 w 2163080"/>
                <a:gd name="connsiteY115" fmla="*/ 1063497 h 2082019"/>
                <a:gd name="connsiteX116" fmla="*/ 843351 w 2163080"/>
                <a:gd name="connsiteY116" fmla="*/ 1063497 h 2082019"/>
                <a:gd name="connsiteX117" fmla="*/ 843351 w 2163080"/>
                <a:gd name="connsiteY117" fmla="*/ 627321 h 2082019"/>
                <a:gd name="connsiteX118" fmla="*/ 944917 w 2163080"/>
                <a:gd name="connsiteY118" fmla="*/ 474094 h 2082019"/>
                <a:gd name="connsiteX119" fmla="*/ 996379 w 2163080"/>
                <a:gd name="connsiteY119" fmla="*/ 463704 h 2082019"/>
                <a:gd name="connsiteX120" fmla="*/ 996379 w 2163080"/>
                <a:gd name="connsiteY120" fmla="*/ 331011 h 2082019"/>
                <a:gd name="connsiteX121" fmla="*/ 683756 w 2163080"/>
                <a:gd name="connsiteY121" fmla="*/ 0 h 2082019"/>
                <a:gd name="connsiteX122" fmla="*/ 785279 w 2163080"/>
                <a:gd name="connsiteY122" fmla="*/ 0 h 2082019"/>
                <a:gd name="connsiteX123" fmla="*/ 785279 w 2163080"/>
                <a:gd name="connsiteY123" fmla="*/ 1 h 2082019"/>
                <a:gd name="connsiteX124" fmla="*/ 785279 w 2163080"/>
                <a:gd name="connsiteY124" fmla="*/ 150699 h 2082019"/>
                <a:gd name="connsiteX125" fmla="*/ 785279 w 2163080"/>
                <a:gd name="connsiteY125" fmla="*/ 150703 h 2082019"/>
                <a:gd name="connsiteX126" fmla="*/ 785279 w 2163080"/>
                <a:gd name="connsiteY126" fmla="*/ 185573 h 2082019"/>
                <a:gd name="connsiteX127" fmla="*/ 785279 w 2163080"/>
                <a:gd name="connsiteY127" fmla="*/ 268612 h 2082019"/>
                <a:gd name="connsiteX128" fmla="*/ 1437863 w 2163080"/>
                <a:gd name="connsiteY128" fmla="*/ 268612 h 2082019"/>
                <a:gd name="connsiteX129" fmla="*/ 1437863 w 2163080"/>
                <a:gd name="connsiteY129" fmla="*/ 268180 h 2082019"/>
                <a:gd name="connsiteX130" fmla="*/ 1479462 w 2163080"/>
                <a:gd name="connsiteY130" fmla="*/ 268180 h 2082019"/>
                <a:gd name="connsiteX131" fmla="*/ 1479462 w 2163080"/>
                <a:gd name="connsiteY131" fmla="*/ 466997 h 2082019"/>
                <a:gd name="connsiteX132" fmla="*/ 1514095 w 2163080"/>
                <a:gd name="connsiteY132" fmla="*/ 473988 h 2082019"/>
                <a:gd name="connsiteX133" fmla="*/ 1608185 w 2163080"/>
                <a:gd name="connsiteY133" fmla="*/ 577765 h 2082019"/>
                <a:gd name="connsiteX134" fmla="*/ 1613636 w 2163080"/>
                <a:gd name="connsiteY134" fmla="*/ 613821 h 2082019"/>
                <a:gd name="connsiteX135" fmla="*/ 1615660 w 2163080"/>
                <a:gd name="connsiteY135" fmla="*/ 613821 h 2082019"/>
                <a:gd name="connsiteX136" fmla="*/ 1615660 w 2163080"/>
                <a:gd name="connsiteY136" fmla="*/ 627210 h 2082019"/>
                <a:gd name="connsiteX137" fmla="*/ 1615661 w 2163080"/>
                <a:gd name="connsiteY137" fmla="*/ 627216 h 2082019"/>
                <a:gd name="connsiteX138" fmla="*/ 1615660 w 2163080"/>
                <a:gd name="connsiteY138" fmla="*/ 1063497 h 2082019"/>
                <a:gd name="connsiteX139" fmla="*/ 2163080 w 2163080"/>
                <a:gd name="connsiteY139" fmla="*/ 1063497 h 2082019"/>
                <a:gd name="connsiteX140" fmla="*/ 2163080 w 2163080"/>
                <a:gd name="connsiteY140" fmla="*/ 1184656 h 2082019"/>
                <a:gd name="connsiteX141" fmla="*/ 2163080 w 2163080"/>
                <a:gd name="connsiteY141" fmla="*/ 1530190 h 2082019"/>
                <a:gd name="connsiteX142" fmla="*/ 2163080 w 2163080"/>
                <a:gd name="connsiteY142" fmla="*/ 2078653 h 2082019"/>
                <a:gd name="connsiteX143" fmla="*/ 2163080 w 2163080"/>
                <a:gd name="connsiteY143" fmla="*/ 2082019 h 2082019"/>
                <a:gd name="connsiteX144" fmla="*/ 499194 w 2163080"/>
                <a:gd name="connsiteY144" fmla="*/ 2082019 h 2082019"/>
                <a:gd name="connsiteX145" fmla="*/ 499105 w 2163080"/>
                <a:gd name="connsiteY145" fmla="*/ 2082019 h 2082019"/>
                <a:gd name="connsiteX146" fmla="*/ 421721 w 2163080"/>
                <a:gd name="connsiteY146" fmla="*/ 2082019 h 2082019"/>
                <a:gd name="connsiteX147" fmla="*/ 421721 w 2163080"/>
                <a:gd name="connsiteY147" fmla="*/ 1864776 h 2082019"/>
                <a:gd name="connsiteX148" fmla="*/ 327071 w 2163080"/>
                <a:gd name="connsiteY148" fmla="*/ 1864776 h 2082019"/>
                <a:gd name="connsiteX149" fmla="*/ 327071 w 2163080"/>
                <a:gd name="connsiteY149" fmla="*/ 2082019 h 2082019"/>
                <a:gd name="connsiteX150" fmla="*/ 249597 w 2163080"/>
                <a:gd name="connsiteY150" fmla="*/ 2082019 h 2082019"/>
                <a:gd name="connsiteX151" fmla="*/ 249597 w 2163080"/>
                <a:gd name="connsiteY151" fmla="*/ 2082018 h 2082019"/>
                <a:gd name="connsiteX152" fmla="*/ 163326 w 2163080"/>
                <a:gd name="connsiteY152" fmla="*/ 2082018 h 2082019"/>
                <a:gd name="connsiteX153" fmla="*/ 163326 w 2163080"/>
                <a:gd name="connsiteY153" fmla="*/ 1864776 h 2082019"/>
                <a:gd name="connsiteX154" fmla="*/ 68676 w 2163080"/>
                <a:gd name="connsiteY154" fmla="*/ 1864776 h 2082019"/>
                <a:gd name="connsiteX155" fmla="*/ 68676 w 2163080"/>
                <a:gd name="connsiteY155" fmla="*/ 2082018 h 2082019"/>
                <a:gd name="connsiteX156" fmla="*/ 0 w 2163080"/>
                <a:gd name="connsiteY156" fmla="*/ 2082018 h 2082019"/>
                <a:gd name="connsiteX157" fmla="*/ 0 w 2163080"/>
                <a:gd name="connsiteY157" fmla="*/ 1070653 h 2082019"/>
                <a:gd name="connsiteX158" fmla="*/ 0 w 2163080"/>
                <a:gd name="connsiteY158" fmla="*/ 957871 h 2082019"/>
                <a:gd name="connsiteX159" fmla="*/ 0 w 2163080"/>
                <a:gd name="connsiteY159" fmla="*/ 957207 h 2082019"/>
                <a:gd name="connsiteX160" fmla="*/ 91842 w 2163080"/>
                <a:gd name="connsiteY160" fmla="*/ 957207 h 2082019"/>
                <a:gd name="connsiteX161" fmla="*/ 91842 w 2163080"/>
                <a:gd name="connsiteY161" fmla="*/ 351653 h 2082019"/>
                <a:gd name="connsiteX162" fmla="*/ 91841 w 2163080"/>
                <a:gd name="connsiteY162" fmla="*/ 351653 h 2082019"/>
                <a:gd name="connsiteX163" fmla="*/ 91841 w 2163080"/>
                <a:gd name="connsiteY163" fmla="*/ 185571 h 2082019"/>
                <a:gd name="connsiteX164" fmla="*/ 237438 w 2163080"/>
                <a:gd name="connsiteY164" fmla="*/ 185571 h 2082019"/>
                <a:gd name="connsiteX165" fmla="*/ 383036 w 2163080"/>
                <a:gd name="connsiteY165" fmla="*/ 185571 h 2082019"/>
                <a:gd name="connsiteX166" fmla="*/ 383037 w 2163080"/>
                <a:gd name="connsiteY166" fmla="*/ 185571 h 2082019"/>
                <a:gd name="connsiteX167" fmla="*/ 383037 w 2163080"/>
                <a:gd name="connsiteY167" fmla="*/ 337527 h 2082019"/>
                <a:gd name="connsiteX168" fmla="*/ 383038 w 2163080"/>
                <a:gd name="connsiteY168" fmla="*/ 337527 h 2082019"/>
                <a:gd name="connsiteX169" fmla="*/ 383038 w 2163080"/>
                <a:gd name="connsiteY169" fmla="*/ 337530 h 2082019"/>
                <a:gd name="connsiteX170" fmla="*/ 383038 w 2163080"/>
                <a:gd name="connsiteY170" fmla="*/ 955499 h 2082019"/>
                <a:gd name="connsiteX171" fmla="*/ 499194 w 2163080"/>
                <a:gd name="connsiteY171" fmla="*/ 955499 h 2082019"/>
                <a:gd name="connsiteX172" fmla="*/ 499194 w 2163080"/>
                <a:gd name="connsiteY172" fmla="*/ 956944 h 2082019"/>
                <a:gd name="connsiteX173" fmla="*/ 499194 w 2163080"/>
                <a:gd name="connsiteY173" fmla="*/ 1063497 h 2082019"/>
                <a:gd name="connsiteX174" fmla="*/ 591966 w 2163080"/>
                <a:gd name="connsiteY174" fmla="*/ 1063497 h 2082019"/>
                <a:gd name="connsiteX175" fmla="*/ 591966 w 2163080"/>
                <a:gd name="connsiteY175" fmla="*/ 185573 h 2082019"/>
                <a:gd name="connsiteX176" fmla="*/ 591966 w 2163080"/>
                <a:gd name="connsiteY176" fmla="*/ 150703 h 2082019"/>
                <a:gd name="connsiteX177" fmla="*/ 591966 w 2163080"/>
                <a:gd name="connsiteY177" fmla="*/ 1 h 2082019"/>
                <a:gd name="connsiteX178" fmla="*/ 683756 w 2163080"/>
                <a:gd name="connsiteY178" fmla="*/ 1 h 208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</a:cxnLst>
              <a:rect l="l" t="t" r="r" b="b"/>
              <a:pathLst>
                <a:path w="2163080" h="2082019">
                  <a:moveTo>
                    <a:pt x="1708938" y="2004560"/>
                  </a:moveTo>
                  <a:lnTo>
                    <a:pt x="1708938" y="2044384"/>
                  </a:lnTo>
                  <a:lnTo>
                    <a:pt x="2059441" y="2044384"/>
                  </a:lnTo>
                  <a:lnTo>
                    <a:pt x="2059441" y="2004560"/>
                  </a:lnTo>
                  <a:close/>
                  <a:moveTo>
                    <a:pt x="1293406" y="2004560"/>
                  </a:moveTo>
                  <a:lnTo>
                    <a:pt x="1293406" y="2044384"/>
                  </a:lnTo>
                  <a:lnTo>
                    <a:pt x="1643909" y="2044384"/>
                  </a:lnTo>
                  <a:lnTo>
                    <a:pt x="1643909" y="2004560"/>
                  </a:lnTo>
                  <a:close/>
                  <a:moveTo>
                    <a:pt x="1708938" y="1943463"/>
                  </a:moveTo>
                  <a:lnTo>
                    <a:pt x="1708938" y="1983287"/>
                  </a:lnTo>
                  <a:lnTo>
                    <a:pt x="2059441" y="1983287"/>
                  </a:lnTo>
                  <a:lnTo>
                    <a:pt x="2059441" y="1943463"/>
                  </a:lnTo>
                  <a:close/>
                  <a:moveTo>
                    <a:pt x="1293406" y="1943463"/>
                  </a:moveTo>
                  <a:lnTo>
                    <a:pt x="1293406" y="1983287"/>
                  </a:lnTo>
                  <a:lnTo>
                    <a:pt x="1643909" y="1983287"/>
                  </a:lnTo>
                  <a:lnTo>
                    <a:pt x="1643909" y="1943463"/>
                  </a:lnTo>
                  <a:close/>
                  <a:moveTo>
                    <a:pt x="1708938" y="1882367"/>
                  </a:moveTo>
                  <a:lnTo>
                    <a:pt x="1708938" y="1922191"/>
                  </a:lnTo>
                  <a:lnTo>
                    <a:pt x="2059441" y="1922191"/>
                  </a:lnTo>
                  <a:lnTo>
                    <a:pt x="2059441" y="1882367"/>
                  </a:lnTo>
                  <a:close/>
                  <a:moveTo>
                    <a:pt x="1293406" y="1882367"/>
                  </a:moveTo>
                  <a:lnTo>
                    <a:pt x="1293406" y="1922191"/>
                  </a:lnTo>
                  <a:lnTo>
                    <a:pt x="1643909" y="1922191"/>
                  </a:lnTo>
                  <a:lnTo>
                    <a:pt x="1643909" y="1882367"/>
                  </a:lnTo>
                  <a:close/>
                  <a:moveTo>
                    <a:pt x="1024178" y="1873675"/>
                  </a:moveTo>
                  <a:lnTo>
                    <a:pt x="1024178" y="1939321"/>
                  </a:lnTo>
                  <a:lnTo>
                    <a:pt x="1122274" y="1939321"/>
                  </a:lnTo>
                  <a:lnTo>
                    <a:pt x="1122274" y="1873675"/>
                  </a:lnTo>
                  <a:close/>
                  <a:moveTo>
                    <a:pt x="840577" y="1873675"/>
                  </a:moveTo>
                  <a:lnTo>
                    <a:pt x="840577" y="1939321"/>
                  </a:lnTo>
                  <a:lnTo>
                    <a:pt x="938673" y="1939321"/>
                  </a:lnTo>
                  <a:lnTo>
                    <a:pt x="938673" y="1873675"/>
                  </a:lnTo>
                  <a:close/>
                  <a:moveTo>
                    <a:pt x="656977" y="1873675"/>
                  </a:moveTo>
                  <a:lnTo>
                    <a:pt x="656977" y="1939321"/>
                  </a:lnTo>
                  <a:lnTo>
                    <a:pt x="755073" y="1939321"/>
                  </a:lnTo>
                  <a:lnTo>
                    <a:pt x="755073" y="1873675"/>
                  </a:lnTo>
                  <a:close/>
                  <a:moveTo>
                    <a:pt x="1708938" y="1821270"/>
                  </a:moveTo>
                  <a:lnTo>
                    <a:pt x="1708938" y="1861094"/>
                  </a:lnTo>
                  <a:lnTo>
                    <a:pt x="2059441" y="1861094"/>
                  </a:lnTo>
                  <a:lnTo>
                    <a:pt x="2059441" y="1821270"/>
                  </a:lnTo>
                  <a:close/>
                  <a:moveTo>
                    <a:pt x="1293406" y="1821270"/>
                  </a:moveTo>
                  <a:lnTo>
                    <a:pt x="1293406" y="1861094"/>
                  </a:lnTo>
                  <a:lnTo>
                    <a:pt x="1643909" y="1861094"/>
                  </a:lnTo>
                  <a:lnTo>
                    <a:pt x="1643909" y="1821270"/>
                  </a:lnTo>
                  <a:close/>
                  <a:moveTo>
                    <a:pt x="1024178" y="1737466"/>
                  </a:moveTo>
                  <a:lnTo>
                    <a:pt x="1024178" y="1803112"/>
                  </a:lnTo>
                  <a:lnTo>
                    <a:pt x="1122274" y="1803112"/>
                  </a:lnTo>
                  <a:lnTo>
                    <a:pt x="1122274" y="1737466"/>
                  </a:lnTo>
                  <a:close/>
                  <a:moveTo>
                    <a:pt x="840577" y="1737466"/>
                  </a:moveTo>
                  <a:lnTo>
                    <a:pt x="840577" y="1803112"/>
                  </a:lnTo>
                  <a:lnTo>
                    <a:pt x="938673" y="1803112"/>
                  </a:lnTo>
                  <a:lnTo>
                    <a:pt x="938673" y="1737466"/>
                  </a:lnTo>
                  <a:close/>
                  <a:moveTo>
                    <a:pt x="656977" y="1737466"/>
                  </a:moveTo>
                  <a:lnTo>
                    <a:pt x="656977" y="1803112"/>
                  </a:lnTo>
                  <a:lnTo>
                    <a:pt x="755073" y="1803112"/>
                  </a:lnTo>
                  <a:lnTo>
                    <a:pt x="755073" y="1737466"/>
                  </a:lnTo>
                  <a:close/>
                  <a:moveTo>
                    <a:pt x="1024178" y="1601257"/>
                  </a:moveTo>
                  <a:lnTo>
                    <a:pt x="1024178" y="1666903"/>
                  </a:lnTo>
                  <a:lnTo>
                    <a:pt x="1122274" y="1666903"/>
                  </a:lnTo>
                  <a:lnTo>
                    <a:pt x="1122274" y="1601257"/>
                  </a:lnTo>
                  <a:close/>
                  <a:moveTo>
                    <a:pt x="840577" y="1601257"/>
                  </a:moveTo>
                  <a:lnTo>
                    <a:pt x="840577" y="1666903"/>
                  </a:lnTo>
                  <a:lnTo>
                    <a:pt x="938673" y="1666903"/>
                  </a:lnTo>
                  <a:lnTo>
                    <a:pt x="938673" y="1601257"/>
                  </a:lnTo>
                  <a:close/>
                  <a:moveTo>
                    <a:pt x="656977" y="1601257"/>
                  </a:moveTo>
                  <a:lnTo>
                    <a:pt x="656977" y="1666903"/>
                  </a:lnTo>
                  <a:lnTo>
                    <a:pt x="755073" y="1666903"/>
                  </a:lnTo>
                  <a:lnTo>
                    <a:pt x="755073" y="1601257"/>
                  </a:lnTo>
                  <a:close/>
                  <a:moveTo>
                    <a:pt x="1949811" y="1437108"/>
                  </a:moveTo>
                  <a:lnTo>
                    <a:pt x="1949811" y="1502754"/>
                  </a:lnTo>
                  <a:lnTo>
                    <a:pt x="2047907" y="1502754"/>
                  </a:lnTo>
                  <a:lnTo>
                    <a:pt x="2047907" y="1437108"/>
                  </a:lnTo>
                  <a:close/>
                  <a:moveTo>
                    <a:pt x="1766210" y="1437108"/>
                  </a:moveTo>
                  <a:lnTo>
                    <a:pt x="1766210" y="1502754"/>
                  </a:lnTo>
                  <a:lnTo>
                    <a:pt x="1864306" y="1502754"/>
                  </a:lnTo>
                  <a:lnTo>
                    <a:pt x="1864306" y="1437108"/>
                  </a:lnTo>
                  <a:close/>
                  <a:moveTo>
                    <a:pt x="1582610" y="1437108"/>
                  </a:moveTo>
                  <a:lnTo>
                    <a:pt x="1582610" y="1502754"/>
                  </a:lnTo>
                  <a:lnTo>
                    <a:pt x="1680706" y="1502754"/>
                  </a:lnTo>
                  <a:lnTo>
                    <a:pt x="1680706" y="1437108"/>
                  </a:lnTo>
                  <a:close/>
                  <a:moveTo>
                    <a:pt x="1386037" y="1437108"/>
                  </a:moveTo>
                  <a:lnTo>
                    <a:pt x="1386037" y="1502754"/>
                  </a:lnTo>
                  <a:lnTo>
                    <a:pt x="1484133" y="1502754"/>
                  </a:lnTo>
                  <a:lnTo>
                    <a:pt x="1484133" y="1437108"/>
                  </a:lnTo>
                  <a:close/>
                  <a:moveTo>
                    <a:pt x="1202437" y="1437108"/>
                  </a:moveTo>
                  <a:lnTo>
                    <a:pt x="1202437" y="1502754"/>
                  </a:lnTo>
                  <a:lnTo>
                    <a:pt x="1300533" y="1502754"/>
                  </a:lnTo>
                  <a:lnTo>
                    <a:pt x="1300533" y="1437108"/>
                  </a:lnTo>
                  <a:close/>
                  <a:moveTo>
                    <a:pt x="1024178" y="1437108"/>
                  </a:moveTo>
                  <a:lnTo>
                    <a:pt x="1024178" y="1502754"/>
                  </a:lnTo>
                  <a:lnTo>
                    <a:pt x="1122274" y="1502754"/>
                  </a:lnTo>
                  <a:lnTo>
                    <a:pt x="1122274" y="1437108"/>
                  </a:lnTo>
                  <a:close/>
                  <a:moveTo>
                    <a:pt x="840577" y="1437108"/>
                  </a:moveTo>
                  <a:lnTo>
                    <a:pt x="840577" y="1502754"/>
                  </a:lnTo>
                  <a:lnTo>
                    <a:pt x="938673" y="1502754"/>
                  </a:lnTo>
                  <a:lnTo>
                    <a:pt x="938673" y="1437108"/>
                  </a:lnTo>
                  <a:close/>
                  <a:moveTo>
                    <a:pt x="656977" y="1437108"/>
                  </a:moveTo>
                  <a:lnTo>
                    <a:pt x="656977" y="1502754"/>
                  </a:lnTo>
                  <a:lnTo>
                    <a:pt x="755073" y="1502754"/>
                  </a:lnTo>
                  <a:lnTo>
                    <a:pt x="755073" y="1437108"/>
                  </a:lnTo>
                  <a:close/>
                  <a:moveTo>
                    <a:pt x="1037978" y="331011"/>
                  </a:moveTo>
                  <a:lnTo>
                    <a:pt x="1037978" y="465308"/>
                  </a:lnTo>
                  <a:lnTo>
                    <a:pt x="1059098" y="468502"/>
                  </a:lnTo>
                  <a:cubicBezTo>
                    <a:pt x="1105963" y="483078"/>
                    <a:pt x="1143941" y="517827"/>
                    <a:pt x="1162875" y="562591"/>
                  </a:cubicBezTo>
                  <a:lnTo>
                    <a:pt x="1173239" y="613926"/>
                  </a:lnTo>
                  <a:lnTo>
                    <a:pt x="1175942" y="613926"/>
                  </a:lnTo>
                  <a:lnTo>
                    <a:pt x="1175942" y="627317"/>
                  </a:lnTo>
                  <a:lnTo>
                    <a:pt x="1175943" y="627321"/>
                  </a:lnTo>
                  <a:lnTo>
                    <a:pt x="1175942" y="1063497"/>
                  </a:lnTo>
                  <a:lnTo>
                    <a:pt x="1283069" y="1063497"/>
                  </a:lnTo>
                  <a:lnTo>
                    <a:pt x="1283069" y="627216"/>
                  </a:lnTo>
                  <a:cubicBezTo>
                    <a:pt x="1283069" y="558334"/>
                    <a:pt x="1324949" y="499233"/>
                    <a:pt x="1384635" y="473988"/>
                  </a:cubicBezTo>
                  <a:lnTo>
                    <a:pt x="1437863" y="463242"/>
                  </a:lnTo>
                  <a:lnTo>
                    <a:pt x="1437863" y="331011"/>
                  </a:lnTo>
                  <a:close/>
                  <a:moveTo>
                    <a:pt x="785279" y="331011"/>
                  </a:moveTo>
                  <a:lnTo>
                    <a:pt x="785279" y="1063497"/>
                  </a:lnTo>
                  <a:lnTo>
                    <a:pt x="843351" y="1063497"/>
                  </a:lnTo>
                  <a:lnTo>
                    <a:pt x="843351" y="627321"/>
                  </a:lnTo>
                  <a:cubicBezTo>
                    <a:pt x="843351" y="558439"/>
                    <a:pt x="885231" y="499339"/>
                    <a:pt x="944917" y="474094"/>
                  </a:cubicBezTo>
                  <a:lnTo>
                    <a:pt x="996379" y="463704"/>
                  </a:lnTo>
                  <a:lnTo>
                    <a:pt x="996379" y="331011"/>
                  </a:lnTo>
                  <a:close/>
                  <a:moveTo>
                    <a:pt x="683756" y="0"/>
                  </a:moveTo>
                  <a:lnTo>
                    <a:pt x="785279" y="0"/>
                  </a:lnTo>
                  <a:lnTo>
                    <a:pt x="785279" y="1"/>
                  </a:lnTo>
                  <a:lnTo>
                    <a:pt x="785279" y="150699"/>
                  </a:lnTo>
                  <a:lnTo>
                    <a:pt x="785279" y="150703"/>
                  </a:lnTo>
                  <a:lnTo>
                    <a:pt x="785279" y="185573"/>
                  </a:lnTo>
                  <a:lnTo>
                    <a:pt x="785279" y="268612"/>
                  </a:lnTo>
                  <a:lnTo>
                    <a:pt x="1437863" y="268612"/>
                  </a:lnTo>
                  <a:lnTo>
                    <a:pt x="1437863" y="268180"/>
                  </a:lnTo>
                  <a:lnTo>
                    <a:pt x="1479462" y="268180"/>
                  </a:lnTo>
                  <a:lnTo>
                    <a:pt x="1479462" y="466997"/>
                  </a:lnTo>
                  <a:lnTo>
                    <a:pt x="1514095" y="473988"/>
                  </a:lnTo>
                  <a:cubicBezTo>
                    <a:pt x="1558860" y="492922"/>
                    <a:pt x="1593608" y="530900"/>
                    <a:pt x="1608185" y="577765"/>
                  </a:cubicBezTo>
                  <a:lnTo>
                    <a:pt x="1613636" y="613821"/>
                  </a:lnTo>
                  <a:lnTo>
                    <a:pt x="1615660" y="613821"/>
                  </a:lnTo>
                  <a:lnTo>
                    <a:pt x="1615660" y="627210"/>
                  </a:lnTo>
                  <a:lnTo>
                    <a:pt x="1615661" y="627216"/>
                  </a:lnTo>
                  <a:lnTo>
                    <a:pt x="1615660" y="1063497"/>
                  </a:lnTo>
                  <a:lnTo>
                    <a:pt x="2163080" y="1063497"/>
                  </a:lnTo>
                  <a:lnTo>
                    <a:pt x="2163080" y="1184656"/>
                  </a:lnTo>
                  <a:lnTo>
                    <a:pt x="2163080" y="1530190"/>
                  </a:lnTo>
                  <a:lnTo>
                    <a:pt x="2163080" y="2078653"/>
                  </a:lnTo>
                  <a:lnTo>
                    <a:pt x="2163080" y="2082019"/>
                  </a:lnTo>
                  <a:lnTo>
                    <a:pt x="499194" y="2082019"/>
                  </a:lnTo>
                  <a:lnTo>
                    <a:pt x="499105" y="2082019"/>
                  </a:lnTo>
                  <a:lnTo>
                    <a:pt x="421721" y="2082019"/>
                  </a:lnTo>
                  <a:lnTo>
                    <a:pt x="421721" y="1864776"/>
                  </a:lnTo>
                  <a:lnTo>
                    <a:pt x="327071" y="1864776"/>
                  </a:lnTo>
                  <a:lnTo>
                    <a:pt x="327071" y="2082019"/>
                  </a:lnTo>
                  <a:lnTo>
                    <a:pt x="249597" y="2082019"/>
                  </a:lnTo>
                  <a:lnTo>
                    <a:pt x="249597" y="2082018"/>
                  </a:lnTo>
                  <a:lnTo>
                    <a:pt x="163326" y="2082018"/>
                  </a:lnTo>
                  <a:lnTo>
                    <a:pt x="163326" y="1864776"/>
                  </a:lnTo>
                  <a:lnTo>
                    <a:pt x="68676" y="1864776"/>
                  </a:lnTo>
                  <a:lnTo>
                    <a:pt x="68676" y="2082018"/>
                  </a:lnTo>
                  <a:lnTo>
                    <a:pt x="0" y="2082018"/>
                  </a:lnTo>
                  <a:lnTo>
                    <a:pt x="0" y="1070653"/>
                  </a:lnTo>
                  <a:lnTo>
                    <a:pt x="0" y="957871"/>
                  </a:lnTo>
                  <a:lnTo>
                    <a:pt x="0" y="957207"/>
                  </a:lnTo>
                  <a:lnTo>
                    <a:pt x="91842" y="957207"/>
                  </a:lnTo>
                  <a:lnTo>
                    <a:pt x="91842" y="351653"/>
                  </a:lnTo>
                  <a:lnTo>
                    <a:pt x="91841" y="351653"/>
                  </a:lnTo>
                  <a:lnTo>
                    <a:pt x="91841" y="185571"/>
                  </a:lnTo>
                  <a:lnTo>
                    <a:pt x="237438" y="185571"/>
                  </a:lnTo>
                  <a:lnTo>
                    <a:pt x="383036" y="185571"/>
                  </a:lnTo>
                  <a:lnTo>
                    <a:pt x="383037" y="185571"/>
                  </a:lnTo>
                  <a:lnTo>
                    <a:pt x="383037" y="337527"/>
                  </a:lnTo>
                  <a:lnTo>
                    <a:pt x="383038" y="337527"/>
                  </a:lnTo>
                  <a:lnTo>
                    <a:pt x="383038" y="337530"/>
                  </a:lnTo>
                  <a:lnTo>
                    <a:pt x="383038" y="955499"/>
                  </a:lnTo>
                  <a:lnTo>
                    <a:pt x="499194" y="955499"/>
                  </a:lnTo>
                  <a:lnTo>
                    <a:pt x="499194" y="956944"/>
                  </a:lnTo>
                  <a:lnTo>
                    <a:pt x="499194" y="1063497"/>
                  </a:lnTo>
                  <a:lnTo>
                    <a:pt x="591966" y="1063497"/>
                  </a:lnTo>
                  <a:lnTo>
                    <a:pt x="591966" y="185573"/>
                  </a:lnTo>
                  <a:lnTo>
                    <a:pt x="591966" y="150703"/>
                  </a:lnTo>
                  <a:lnTo>
                    <a:pt x="591966" y="1"/>
                  </a:lnTo>
                  <a:lnTo>
                    <a:pt x="683756" y="1"/>
                  </a:lnTo>
                  <a:close/>
                </a:path>
              </a:pathLst>
            </a:custGeom>
            <a:solidFill>
              <a:srgbClr val="174A9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742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sp>
          <p:nvSpPr>
            <p:cNvPr id="36" name="Graphic 12">
              <a:extLst>
                <a:ext uri="{FF2B5EF4-FFF2-40B4-BE49-F238E27FC236}">
                  <a16:creationId xmlns:a16="http://schemas.microsoft.com/office/drawing/2014/main" id="{8834950B-A7E5-AC0B-D9E6-44765AE7E166}"/>
                </a:ext>
              </a:extLst>
            </p:cNvPr>
            <p:cNvSpPr/>
            <p:nvPr/>
          </p:nvSpPr>
          <p:spPr>
            <a:xfrm>
              <a:off x="8006387" y="2575110"/>
              <a:ext cx="629297" cy="357806"/>
            </a:xfrm>
            <a:custGeom>
              <a:avLst/>
              <a:gdLst>
                <a:gd name="connsiteX0" fmla="*/ 11922847 w 11944350"/>
                <a:gd name="connsiteY0" fmla="*/ 958396 h 6791325"/>
                <a:gd name="connsiteX1" fmla="*/ 9884497 w 11944350"/>
                <a:gd name="connsiteY1" fmla="*/ 6848 h 6791325"/>
                <a:gd name="connsiteX2" fmla="*/ 6293573 w 11944350"/>
                <a:gd name="connsiteY2" fmla="*/ 1401308 h 6791325"/>
                <a:gd name="connsiteX3" fmla="*/ 1673948 w 11944350"/>
                <a:gd name="connsiteY3" fmla="*/ 996496 h 6791325"/>
                <a:gd name="connsiteX4" fmla="*/ 1488210 w 11944350"/>
                <a:gd name="connsiteY4" fmla="*/ 2358571 h 6791325"/>
                <a:gd name="connsiteX5" fmla="*/ 1841588 w 11944350"/>
                <a:gd name="connsiteY5" fmla="*/ 3539671 h 6791325"/>
                <a:gd name="connsiteX6" fmla="*/ 155663 w 11944350"/>
                <a:gd name="connsiteY6" fmla="*/ 4530271 h 6791325"/>
                <a:gd name="connsiteX7" fmla="*/ 1294853 w 11944350"/>
                <a:gd name="connsiteY7" fmla="*/ 6156188 h 6791325"/>
                <a:gd name="connsiteX8" fmla="*/ 1816823 w 11944350"/>
                <a:gd name="connsiteY8" fmla="*/ 6426699 h 6791325"/>
                <a:gd name="connsiteX9" fmla="*/ 2181630 w 11944350"/>
                <a:gd name="connsiteY9" fmla="*/ 6753406 h 6791325"/>
                <a:gd name="connsiteX10" fmla="*/ 2930295 w 11944350"/>
                <a:gd name="connsiteY10" fmla="*/ 6784838 h 6791325"/>
                <a:gd name="connsiteX11" fmla="*/ 2451188 w 11944350"/>
                <a:gd name="connsiteY11" fmla="*/ 6126661 h 6791325"/>
                <a:gd name="connsiteX12" fmla="*/ 2352128 w 11944350"/>
                <a:gd name="connsiteY12" fmla="*/ 5419906 h 6791325"/>
                <a:gd name="connsiteX13" fmla="*/ 3638003 w 11944350"/>
                <a:gd name="connsiteY13" fmla="*/ 4676003 h 6791325"/>
                <a:gd name="connsiteX14" fmla="*/ 3425595 w 11944350"/>
                <a:gd name="connsiteY14" fmla="*/ 3607298 h 6791325"/>
                <a:gd name="connsiteX15" fmla="*/ 5353456 w 11944350"/>
                <a:gd name="connsiteY15" fmla="*/ 3782558 h 6791325"/>
                <a:gd name="connsiteX16" fmla="*/ 7006995 w 11944350"/>
                <a:gd name="connsiteY16" fmla="*/ 3392986 h 6791325"/>
                <a:gd name="connsiteX17" fmla="*/ 8492895 w 11944350"/>
                <a:gd name="connsiteY17" fmla="*/ 2407148 h 6791325"/>
                <a:gd name="connsiteX18" fmla="*/ 10588395 w 11944350"/>
                <a:gd name="connsiteY18" fmla="*/ 2607173 h 6791325"/>
                <a:gd name="connsiteX19" fmla="*/ 11922847 w 11944350"/>
                <a:gd name="connsiteY19" fmla="*/ 958396 h 6791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944350" h="6791325">
                  <a:moveTo>
                    <a:pt x="11922847" y="958396"/>
                  </a:moveTo>
                  <a:cubicBezTo>
                    <a:pt x="11710441" y="147818"/>
                    <a:pt x="10620780" y="-40777"/>
                    <a:pt x="9884497" y="6848"/>
                  </a:cubicBezTo>
                  <a:cubicBezTo>
                    <a:pt x="8818650" y="76381"/>
                    <a:pt x="7229881" y="1044121"/>
                    <a:pt x="6293573" y="1401308"/>
                  </a:cubicBezTo>
                  <a:cubicBezTo>
                    <a:pt x="4570501" y="2059486"/>
                    <a:pt x="3269385" y="-370342"/>
                    <a:pt x="1673948" y="996496"/>
                  </a:cubicBezTo>
                  <a:cubicBezTo>
                    <a:pt x="1366290" y="1260338"/>
                    <a:pt x="1319618" y="1964236"/>
                    <a:pt x="1488210" y="2358571"/>
                  </a:cubicBezTo>
                  <a:cubicBezTo>
                    <a:pt x="1616798" y="2657656"/>
                    <a:pt x="1783485" y="3209153"/>
                    <a:pt x="1841588" y="3539671"/>
                  </a:cubicBezTo>
                  <a:cubicBezTo>
                    <a:pt x="1971128" y="4275953"/>
                    <a:pt x="487133" y="3938768"/>
                    <a:pt x="155663" y="4530271"/>
                  </a:cubicBezTo>
                  <a:cubicBezTo>
                    <a:pt x="-386310" y="5498011"/>
                    <a:pt x="607148" y="5906633"/>
                    <a:pt x="1294853" y="6156188"/>
                  </a:cubicBezTo>
                  <a:cubicBezTo>
                    <a:pt x="1482495" y="6223816"/>
                    <a:pt x="1677758" y="6279061"/>
                    <a:pt x="1816823" y="6426699"/>
                  </a:cubicBezTo>
                  <a:cubicBezTo>
                    <a:pt x="1829205" y="6440033"/>
                    <a:pt x="2205443" y="6767693"/>
                    <a:pt x="2181630" y="6753406"/>
                  </a:cubicBezTo>
                  <a:cubicBezTo>
                    <a:pt x="2294025" y="6823891"/>
                    <a:pt x="2802660" y="6784838"/>
                    <a:pt x="2930295" y="6784838"/>
                  </a:cubicBezTo>
                  <a:cubicBezTo>
                    <a:pt x="2831235" y="6709591"/>
                    <a:pt x="2550248" y="6259058"/>
                    <a:pt x="2451188" y="6126661"/>
                  </a:cubicBezTo>
                  <a:cubicBezTo>
                    <a:pt x="2279738" y="5898061"/>
                    <a:pt x="2165438" y="5698036"/>
                    <a:pt x="2352128" y="5419906"/>
                  </a:cubicBezTo>
                  <a:cubicBezTo>
                    <a:pt x="2632163" y="5002711"/>
                    <a:pt x="3646575" y="5310368"/>
                    <a:pt x="3638003" y="4676003"/>
                  </a:cubicBezTo>
                  <a:cubicBezTo>
                    <a:pt x="3631335" y="4198801"/>
                    <a:pt x="2949345" y="4121648"/>
                    <a:pt x="3425595" y="3607298"/>
                  </a:cubicBezTo>
                  <a:cubicBezTo>
                    <a:pt x="3972330" y="3016748"/>
                    <a:pt x="4710518" y="3607298"/>
                    <a:pt x="5353456" y="3782558"/>
                  </a:cubicBezTo>
                  <a:cubicBezTo>
                    <a:pt x="5906858" y="3934006"/>
                    <a:pt x="6559320" y="3850186"/>
                    <a:pt x="7006995" y="3392986"/>
                  </a:cubicBezTo>
                  <a:cubicBezTo>
                    <a:pt x="7565160" y="2821486"/>
                    <a:pt x="7475626" y="2466203"/>
                    <a:pt x="8492895" y="2407148"/>
                  </a:cubicBezTo>
                  <a:cubicBezTo>
                    <a:pt x="9212985" y="2365238"/>
                    <a:pt x="9866400" y="2736713"/>
                    <a:pt x="10588395" y="2607173"/>
                  </a:cubicBezTo>
                  <a:cubicBezTo>
                    <a:pt x="11225618" y="2491921"/>
                    <a:pt x="12105728" y="1653721"/>
                    <a:pt x="11922847" y="958396"/>
                  </a:cubicBezTo>
                  <a:close/>
                </a:path>
              </a:pathLst>
            </a:custGeom>
            <a:solidFill>
              <a:srgbClr val="174A9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742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2231F24-2D93-9562-0474-A637578754BF}"/>
              </a:ext>
            </a:extLst>
          </p:cNvPr>
          <p:cNvGrpSpPr/>
          <p:nvPr/>
        </p:nvGrpSpPr>
        <p:grpSpPr>
          <a:xfrm>
            <a:off x="1028099" y="3928844"/>
            <a:ext cx="5014007" cy="1572812"/>
            <a:chOff x="4454664" y="1497375"/>
            <a:chExt cx="2060044" cy="1798282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EAC8B378-D661-1C5C-F5A1-AACADB2CE9C5}"/>
                </a:ext>
              </a:extLst>
            </p:cNvPr>
            <p:cNvSpPr/>
            <p:nvPr/>
          </p:nvSpPr>
          <p:spPr>
            <a:xfrm>
              <a:off x="4454664" y="2345534"/>
              <a:ext cx="2060044" cy="95012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742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Perizian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</a:t>
              </a: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Berusaha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</a:t>
              </a: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adalah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</a:t>
              </a: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legalitas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yang </a:t>
              </a: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diberikan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</a:t>
              </a: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kepada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</a:t>
              </a: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pelaku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</a:t>
              </a: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usaha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</a:t>
              </a: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untuk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</a:t>
              </a: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memulai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dan </a:t>
              </a: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menjalankan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</a:t>
              </a: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usaha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dan/</a:t>
              </a: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atau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</a:t>
              </a: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kegiatannya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.</a:t>
              </a:r>
              <a:endParaRPr kumimoji="0" lang="ko-KR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04C65F2-372D-26F3-CF1F-AD56F01A1D4C}"/>
                </a:ext>
              </a:extLst>
            </p:cNvPr>
            <p:cNvSpPr txBox="1"/>
            <p:nvPr/>
          </p:nvSpPr>
          <p:spPr>
            <a:xfrm>
              <a:off x="4684383" y="1497375"/>
              <a:ext cx="1600607" cy="66860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742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UU No. 6 </a:t>
              </a: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Tahun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2023</a:t>
              </a:r>
            </a:p>
            <a:p>
              <a:pPr marL="0" marR="0" lvl="0" indent="0" algn="ctr" defTabSz="742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Pasal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1 </a:t>
              </a: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ayat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4</a:t>
              </a:r>
              <a:endParaRPr kumimoji="0" lang="ko-KR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endParaRPr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81F1FD7C-95F8-640C-C93C-CED5044B23CC}"/>
              </a:ext>
            </a:extLst>
          </p:cNvPr>
          <p:cNvSpPr txBox="1"/>
          <p:nvPr/>
        </p:nvSpPr>
        <p:spPr>
          <a:xfrm>
            <a:off x="7026509" y="3928842"/>
            <a:ext cx="3637957" cy="5847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PP No. 05 </a:t>
            </a:r>
            <a:r>
              <a:rPr kumimoji="0" lang="en-US" altLang="ko-KR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Tahun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 2021</a:t>
            </a:r>
          </a:p>
          <a:p>
            <a:pPr marL="0" marR="0" lvl="0" indent="0" algn="ctr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Pasal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 1 </a:t>
            </a:r>
            <a:r>
              <a:rPr kumimoji="0" lang="en-US" altLang="ko-KR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angka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 4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DM Sans" pitchFamily="2" charset="77"/>
              <a:ea typeface="Century Gothic" charset="0"/>
              <a:cs typeface="Century Gothic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C7BAF04-ADBC-AA18-C450-8C93B9AA4954}"/>
              </a:ext>
            </a:extLst>
          </p:cNvPr>
          <p:cNvSpPr/>
          <p:nvPr/>
        </p:nvSpPr>
        <p:spPr>
          <a:xfrm>
            <a:off x="6709013" y="4670660"/>
            <a:ext cx="470646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Persetuju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Pemerintah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 Pusat dan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Pemerintah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 Daerah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untuk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pelaksana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kegiat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usaha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 yang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wajib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dipenuhi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 oleh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pelaku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usaha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sebelum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melakuk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usahanya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.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DM Sans" pitchFamily="2" charset="77"/>
              <a:ea typeface="Century Gothic" charset="0"/>
              <a:cs typeface="Century Gothic" charset="0"/>
            </a:endParaRPr>
          </a:p>
        </p:txBody>
      </p:sp>
      <p:pic>
        <p:nvPicPr>
          <p:cNvPr id="6" name="Picture 5" descr="lgo sigap.png">
            <a:extLst>
              <a:ext uri="{FF2B5EF4-FFF2-40B4-BE49-F238E27FC236}">
                <a16:creationId xmlns:a16="http://schemas.microsoft.com/office/drawing/2014/main" id="{8D80A294-57AD-788A-7AB3-4DA810AF29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7" name="Round Same Side Corner Rectangle 1">
            <a:extLst>
              <a:ext uri="{FF2B5EF4-FFF2-40B4-BE49-F238E27FC236}">
                <a16:creationId xmlns:a16="http://schemas.microsoft.com/office/drawing/2014/main" id="{7340A573-7C3D-FA78-18F0-662A9445AC8D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E2C3521-D08E-F50C-3C4D-2562B4909D07}"/>
              </a:ext>
            </a:extLst>
          </p:cNvPr>
          <p:cNvSpPr txBox="1">
            <a:spLocks/>
          </p:cNvSpPr>
          <p:nvPr/>
        </p:nvSpPr>
        <p:spPr>
          <a:xfrm>
            <a:off x="318804" y="169194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400" b="1" dirty="0">
                <a:solidFill>
                  <a:prstClr val="black"/>
                </a:solidFill>
                <a:latin typeface="Segoe UI"/>
              </a:rPr>
              <a:t>SBU DAN SKK SEBAGAI PEMENUHAN</a:t>
            </a:r>
          </a:p>
          <a:p>
            <a:pPr>
              <a:lnSpc>
                <a:spcPct val="100000"/>
              </a:lnSpc>
              <a:defRPr/>
            </a:pPr>
            <a:r>
              <a:rPr lang="fi-FI" sz="2400" b="1" dirty="0">
                <a:solidFill>
                  <a:prstClr val="black"/>
                </a:solidFill>
                <a:latin typeface="Segoe UI"/>
              </a:rPr>
              <a:t>PERIZINAN BERUSAHA BERBASIS RISIKO</a:t>
            </a:r>
          </a:p>
          <a:p>
            <a:pPr>
              <a:lnSpc>
                <a:spcPct val="100000"/>
              </a:lnSpc>
              <a:defRPr/>
            </a:pPr>
            <a:r>
              <a:rPr lang="fi-FI" sz="2400" b="1" dirty="0">
                <a:solidFill>
                  <a:prstClr val="black"/>
                </a:solidFill>
                <a:latin typeface="Segoe UI"/>
              </a:rPr>
              <a:t>SEKTOR PUPR SUBSEKTOR JASA KONSTRUKSI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F3C0F15-3E1C-4B30-5FED-85F7DC145B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5503F53A-F028-B98F-2909-5DEF6063D0B7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5006DD1-F64D-4257-9F63-179EAE639B73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9658A364-EC0B-E94A-BBE4-4D9C6230ECEF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1B7B8475-D6BD-CE9D-A26A-119E46FB5CF5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3982F12D-3716-5D61-6302-75F3D7959C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41565231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708C8C4E-5BD6-FB9E-B46B-19D4573A58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9162" y="1903968"/>
            <a:ext cx="854959" cy="1214859"/>
          </a:xfrm>
          <a:prstGeom prst="rect">
            <a:avLst/>
          </a:prstGeom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FDD6AB1C-DDD3-FD69-509B-032E7ED81212}"/>
              </a:ext>
            </a:extLst>
          </p:cNvPr>
          <p:cNvGrpSpPr/>
          <p:nvPr/>
        </p:nvGrpSpPr>
        <p:grpSpPr>
          <a:xfrm>
            <a:off x="2649936" y="1542157"/>
            <a:ext cx="2076286" cy="1947476"/>
            <a:chOff x="2649936" y="1400263"/>
            <a:chExt cx="2076286" cy="1947476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4E2DB089-922D-BD1B-608E-6BEA890295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596" r="5084" b="1370"/>
            <a:stretch/>
          </p:blipFill>
          <p:spPr>
            <a:xfrm>
              <a:off x="3236506" y="1676021"/>
              <a:ext cx="977832" cy="1300912"/>
            </a:xfrm>
            <a:prstGeom prst="rect">
              <a:avLst/>
            </a:prstGeom>
          </p:spPr>
        </p:pic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4BE9C8F0-0619-49A8-8605-05F5F4748582}"/>
                </a:ext>
              </a:extLst>
            </p:cNvPr>
            <p:cNvGrpSpPr/>
            <p:nvPr/>
          </p:nvGrpSpPr>
          <p:grpSpPr>
            <a:xfrm>
              <a:off x="2649936" y="1400263"/>
              <a:ext cx="2076286" cy="1947476"/>
              <a:chOff x="728131" y="2276872"/>
              <a:chExt cx="2763749" cy="2592288"/>
            </a:xfrm>
          </p:grpSpPr>
          <p:sp>
            <p:nvSpPr>
              <p:cNvPr id="84" name="Block Arc 83">
                <a:extLst>
                  <a:ext uri="{FF2B5EF4-FFF2-40B4-BE49-F238E27FC236}">
                    <a16:creationId xmlns:a16="http://schemas.microsoft.com/office/drawing/2014/main" id="{73E53A8A-F449-4554-96DF-24C21CB96A74}"/>
                  </a:ext>
                </a:extLst>
              </p:cNvPr>
              <p:cNvSpPr/>
              <p:nvPr/>
            </p:nvSpPr>
            <p:spPr>
              <a:xfrm>
                <a:off x="899592" y="2276872"/>
                <a:ext cx="2592288" cy="2592288"/>
              </a:xfrm>
              <a:prstGeom prst="blockArc">
                <a:avLst>
                  <a:gd name="adj1" fmla="val 12214054"/>
                  <a:gd name="adj2" fmla="val 9664598"/>
                  <a:gd name="adj3" fmla="val 14811"/>
                </a:avLst>
              </a:prstGeom>
              <a:solidFill>
                <a:srgbClr val="05B05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74292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94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charset="0"/>
                  <a:ea typeface="Century Gothic" charset="0"/>
                  <a:cs typeface="Century Gothic" charset="0"/>
                </a:endParaRPr>
              </a:p>
            </p:txBody>
          </p: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009FC263-C292-4D3B-9EF2-04DBA5A83D22}"/>
                  </a:ext>
                </a:extLst>
              </p:cNvPr>
              <p:cNvSpPr txBox="1"/>
              <p:nvPr/>
            </p:nvSpPr>
            <p:spPr>
              <a:xfrm>
                <a:off x="728131" y="3185928"/>
                <a:ext cx="704458" cy="722064"/>
              </a:xfrm>
              <a:prstGeom prst="rect">
                <a:avLst/>
              </a:prstGeom>
              <a:noFill/>
            </p:spPr>
            <p:txBody>
              <a:bodyPr wrap="square" rIns="0" rtlCol="0">
                <a:spAutoFit/>
              </a:bodyPr>
              <a:lstStyle/>
              <a:p>
                <a:pPr marL="0" marR="0" lvl="0" indent="0" algn="ctr" defTabSz="74292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2925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5B050"/>
                    </a:solidFill>
                    <a:effectLst/>
                    <a:uLnTx/>
                    <a:uFillTx/>
                    <a:latin typeface="Century Gothic" charset="0"/>
                    <a:ea typeface="Century Gothic" charset="0"/>
                    <a:cs typeface="Century Gothic" charset="0"/>
                  </a:rPr>
                  <a:t>01</a:t>
                </a:r>
                <a:endParaRPr kumimoji="0" lang="ko-KR" altLang="en-US" sz="2925" b="1" i="0" u="none" strike="noStrike" kern="0" cap="none" spc="0" normalizeH="0" baseline="0" noProof="0" dirty="0">
                  <a:ln>
                    <a:noFill/>
                  </a:ln>
                  <a:solidFill>
                    <a:srgbClr val="05B050"/>
                  </a:solidFill>
                  <a:effectLst/>
                  <a:uLnTx/>
                  <a:uFillTx/>
                  <a:latin typeface="Century Gothic" charset="0"/>
                  <a:ea typeface="Century Gothic" charset="0"/>
                  <a:cs typeface="Century Gothic" charset="0"/>
                </a:endParaRPr>
              </a:p>
            </p:txBody>
          </p:sp>
        </p:grp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6D55B514-D020-43DA-9B1E-D25F6BE02F72}"/>
              </a:ext>
            </a:extLst>
          </p:cNvPr>
          <p:cNvGrpSpPr/>
          <p:nvPr/>
        </p:nvGrpSpPr>
        <p:grpSpPr>
          <a:xfrm>
            <a:off x="7784093" y="1539294"/>
            <a:ext cx="2076286" cy="1947476"/>
            <a:chOff x="728131" y="2276872"/>
            <a:chExt cx="2763749" cy="2592288"/>
          </a:xfrm>
        </p:grpSpPr>
        <p:sp>
          <p:nvSpPr>
            <p:cNvPr id="87" name="Block Arc 86">
              <a:extLst>
                <a:ext uri="{FF2B5EF4-FFF2-40B4-BE49-F238E27FC236}">
                  <a16:creationId xmlns:a16="http://schemas.microsoft.com/office/drawing/2014/main" id="{1290A8E1-CD6B-4375-9926-A7E505095707}"/>
                </a:ext>
              </a:extLst>
            </p:cNvPr>
            <p:cNvSpPr/>
            <p:nvPr/>
          </p:nvSpPr>
          <p:spPr>
            <a:xfrm>
              <a:off x="899592" y="2276872"/>
              <a:ext cx="2592288" cy="2592288"/>
            </a:xfrm>
            <a:prstGeom prst="blockArc">
              <a:avLst>
                <a:gd name="adj1" fmla="val 12214054"/>
                <a:gd name="adj2" fmla="val 9664598"/>
                <a:gd name="adj3" fmla="val 14811"/>
              </a:avLst>
            </a:prstGeom>
            <a:solidFill>
              <a:srgbClr val="24A8C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42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4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23B8A2A9-E7B9-4D08-A0CA-70157773296B}"/>
                </a:ext>
              </a:extLst>
            </p:cNvPr>
            <p:cNvSpPr txBox="1"/>
            <p:nvPr/>
          </p:nvSpPr>
          <p:spPr>
            <a:xfrm>
              <a:off x="728131" y="3185928"/>
              <a:ext cx="704458" cy="722064"/>
            </a:xfrm>
            <a:prstGeom prst="rect">
              <a:avLst/>
            </a:prstGeom>
            <a:noFill/>
          </p:spPr>
          <p:txBody>
            <a:bodyPr wrap="square" rIns="0" rtlCol="0">
              <a:spAutoFit/>
            </a:bodyPr>
            <a:lstStyle/>
            <a:p>
              <a:pPr marL="0" marR="0" lvl="0" indent="0" algn="ctr" defTabSz="742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2925" b="1" i="0" u="none" strike="noStrike" kern="0" cap="none" spc="0" normalizeH="0" baseline="0" noProof="0" dirty="0">
                  <a:ln>
                    <a:noFill/>
                  </a:ln>
                  <a:solidFill>
                    <a:srgbClr val="24A8C2"/>
                  </a:solidFill>
                  <a:effectLst/>
                  <a:uLnTx/>
                  <a:uFillTx/>
                  <a:latin typeface="Century Gothic" charset="0"/>
                  <a:ea typeface="Century Gothic" charset="0"/>
                  <a:cs typeface="Century Gothic" charset="0"/>
                </a:rPr>
                <a:t>02</a:t>
              </a:r>
              <a:endParaRPr kumimoji="0" lang="ko-KR" altLang="en-US" sz="2925" b="1" i="0" u="none" strike="noStrike" kern="0" cap="none" spc="0" normalizeH="0" baseline="0" noProof="0" dirty="0">
                <a:ln>
                  <a:noFill/>
                </a:ln>
                <a:solidFill>
                  <a:srgbClr val="24A8C2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58D0452B-0EEF-4738-8CCB-B93EC3FD0F37}"/>
              </a:ext>
            </a:extLst>
          </p:cNvPr>
          <p:cNvGrpSpPr/>
          <p:nvPr/>
        </p:nvGrpSpPr>
        <p:grpSpPr>
          <a:xfrm>
            <a:off x="1450486" y="3517912"/>
            <a:ext cx="4636445" cy="2312407"/>
            <a:chOff x="4370344" y="1509806"/>
            <a:chExt cx="2237240" cy="2846038"/>
          </a:xfrm>
        </p:grpSpPr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A2B1A6CD-5624-4317-8AC9-D42790EDE117}"/>
                </a:ext>
              </a:extLst>
            </p:cNvPr>
            <p:cNvSpPr/>
            <p:nvPr/>
          </p:nvSpPr>
          <p:spPr>
            <a:xfrm>
              <a:off x="4370344" y="2386075"/>
              <a:ext cx="2237240" cy="19697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742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Sertifikat</a:t>
              </a:r>
              <a:r>
                <a:rPr kumimoji="0" lang="en-ID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Badan Usaha </a:t>
              </a:r>
              <a:r>
                <a:rPr kumimoji="0" lang="en-ID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adalah</a:t>
              </a:r>
              <a:r>
                <a:rPr kumimoji="0" lang="en-ID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</a:t>
              </a:r>
              <a:r>
                <a:rPr kumimoji="0" lang="en-ID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tanda</a:t>
              </a:r>
              <a:r>
                <a:rPr kumimoji="0" lang="en-ID" sz="16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</a:t>
              </a:r>
              <a:r>
                <a:rPr kumimoji="0" lang="en-ID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bukti</a:t>
              </a:r>
              <a:r>
                <a:rPr kumimoji="0" lang="en-ID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</a:t>
              </a:r>
              <a:r>
                <a:rPr kumimoji="0" lang="en-ID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pengakuan</a:t>
              </a:r>
              <a:r>
                <a:rPr kumimoji="0" lang="en-ID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</a:t>
              </a:r>
              <a:r>
                <a:rPr kumimoji="0" lang="en-ID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terhadap</a:t>
              </a:r>
              <a:r>
                <a:rPr kumimoji="0" lang="en-ID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</a:t>
              </a:r>
              <a:r>
                <a:rPr kumimoji="0" lang="en-ID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Klasifikasi</a:t>
              </a:r>
              <a:r>
                <a:rPr kumimoji="0" lang="en-ID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dan </a:t>
              </a:r>
              <a:r>
                <a:rPr kumimoji="0" lang="en-ID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Kualifikasi</a:t>
              </a:r>
              <a:r>
                <a:rPr kumimoji="0" lang="en-ID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</a:t>
              </a:r>
              <a:r>
                <a:rPr kumimoji="0" lang="en-ID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atas</a:t>
              </a:r>
              <a:r>
                <a:rPr kumimoji="0" lang="en-ID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</a:t>
              </a:r>
              <a:r>
                <a:rPr kumimoji="0" lang="en-ID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kemampuan</a:t>
              </a:r>
              <a:r>
                <a:rPr kumimoji="0" lang="en-ID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Badan Usaha Jasa </a:t>
              </a:r>
              <a:r>
                <a:rPr kumimoji="0" lang="en-ID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Konstruksi</a:t>
              </a:r>
              <a:r>
                <a:rPr kumimoji="0" lang="en-ID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</a:t>
              </a:r>
              <a:r>
                <a:rPr kumimoji="0" lang="en-ID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termasuk</a:t>
              </a:r>
              <a:r>
                <a:rPr kumimoji="0" lang="en-ID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</a:t>
              </a:r>
              <a:r>
                <a:rPr kumimoji="0" lang="en-ID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hasil</a:t>
              </a:r>
              <a:r>
                <a:rPr kumimoji="0" lang="en-ID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</a:t>
              </a:r>
              <a:r>
                <a:rPr kumimoji="0" lang="en-ID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penyetaraan</a:t>
              </a:r>
              <a:r>
                <a:rPr kumimoji="0" lang="en-ID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</a:t>
              </a:r>
              <a:r>
                <a:rPr kumimoji="0" lang="en-ID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kemampuan</a:t>
              </a:r>
              <a:r>
                <a:rPr kumimoji="0" lang="en-ID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Badan Usaha Jasa </a:t>
              </a:r>
              <a:r>
                <a:rPr kumimoji="0" lang="en-ID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Konstruksi</a:t>
              </a:r>
              <a:r>
                <a:rPr kumimoji="0" lang="en-ID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</a:t>
              </a:r>
              <a:r>
                <a:rPr kumimoji="0" lang="en-ID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asing</a:t>
              </a:r>
              <a:r>
                <a:rPr kumimoji="0" lang="en-ID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. </a:t>
              </a: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endParaRP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F7E3023C-ED70-48DB-97A7-6ECF6E69F351}"/>
                </a:ext>
              </a:extLst>
            </p:cNvPr>
            <p:cNvSpPr txBox="1"/>
            <p:nvPr/>
          </p:nvSpPr>
          <p:spPr>
            <a:xfrm>
              <a:off x="4667773" y="1509806"/>
              <a:ext cx="1600607" cy="71972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742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PP No. 14 </a:t>
              </a: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Tahun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2021</a:t>
              </a:r>
            </a:p>
            <a:p>
              <a:pPr marL="0" marR="0" lvl="0" indent="0" algn="ctr" defTabSz="742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Pasal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Century Gothic" charset="0"/>
                  <a:cs typeface="Century Gothic" charset="0"/>
                </a:rPr>
                <a:t> 1 Angka 16 </a:t>
              </a:r>
              <a:endParaRPr kumimoji="0" lang="ko-KR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endParaRPr>
            </a:p>
          </p:txBody>
        </p:sp>
      </p:grpSp>
      <p:sp>
        <p:nvSpPr>
          <p:cNvPr id="95" name="TextBox 94">
            <a:extLst>
              <a:ext uri="{FF2B5EF4-FFF2-40B4-BE49-F238E27FC236}">
                <a16:creationId xmlns:a16="http://schemas.microsoft.com/office/drawing/2014/main" id="{13C0630B-3557-4676-AE73-9FEAF835C664}"/>
              </a:ext>
            </a:extLst>
          </p:cNvPr>
          <p:cNvSpPr txBox="1"/>
          <p:nvPr/>
        </p:nvSpPr>
        <p:spPr>
          <a:xfrm>
            <a:off x="7488810" y="3517911"/>
            <a:ext cx="3097573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PP No. 14 </a:t>
            </a:r>
            <a:r>
              <a:rPr kumimoji="0" lang="en-US" altLang="ko-KR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Tahun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 2021</a:t>
            </a:r>
          </a:p>
          <a:p>
            <a:pPr marL="0" marR="0" lvl="0" indent="0" algn="ctr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Pasal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Century Gothic" charset="0"/>
                <a:cs typeface="Century Gothic" charset="0"/>
              </a:rPr>
              <a:t> 1 Angka 18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DM Sans" pitchFamily="2" charset="77"/>
              <a:ea typeface="Century Gothic" charset="0"/>
              <a:cs typeface="Century Gothic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096A1338-A052-4811-BFD1-E379925528A7}"/>
              </a:ext>
            </a:extLst>
          </p:cNvPr>
          <p:cNvSpPr/>
          <p:nvPr/>
        </p:nvSpPr>
        <p:spPr>
          <a:xfrm>
            <a:off x="6981498" y="4245323"/>
            <a:ext cx="4007941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</a:rPr>
              <a:t>Sertifikat Kompetensi Kerja </a:t>
            </a: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adalah tanda </a:t>
            </a: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bukti pengakuan kompetensi tenaga kerja konstruksi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M Sans" pitchFamily="2" charset="77"/>
              <a:ea typeface="Century Gothic" charset="0"/>
              <a:cs typeface="Century Gothic" charset="0"/>
            </a:endParaRPr>
          </a:p>
        </p:txBody>
      </p:sp>
      <p:pic>
        <p:nvPicPr>
          <p:cNvPr id="6" name="Picture 5" descr="lgo sigap.png">
            <a:extLst>
              <a:ext uri="{FF2B5EF4-FFF2-40B4-BE49-F238E27FC236}">
                <a16:creationId xmlns:a16="http://schemas.microsoft.com/office/drawing/2014/main" id="{7F50908C-3DE8-6737-3DBB-E0B7BE22EA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7" name="Round Same Side Corner Rectangle 1">
            <a:extLst>
              <a:ext uri="{FF2B5EF4-FFF2-40B4-BE49-F238E27FC236}">
                <a16:creationId xmlns:a16="http://schemas.microsoft.com/office/drawing/2014/main" id="{7D0A958E-90D6-9DE2-30B8-7089F33D1B4E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C11F499-0077-CA00-DE3D-583E4B5F35B5}"/>
              </a:ext>
            </a:extLst>
          </p:cNvPr>
          <p:cNvSpPr txBox="1">
            <a:spLocks/>
          </p:cNvSpPr>
          <p:nvPr/>
        </p:nvSpPr>
        <p:spPr>
          <a:xfrm>
            <a:off x="318804" y="169194"/>
            <a:ext cx="8718793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400" b="1" dirty="0">
                <a:solidFill>
                  <a:prstClr val="black"/>
                </a:solidFill>
                <a:latin typeface="Segoe UI"/>
              </a:rPr>
              <a:t>SBU &amp; SKK SEBAGAI PENGAKUAN ATAS</a:t>
            </a:r>
          </a:p>
          <a:p>
            <a:pPr>
              <a:lnSpc>
                <a:spcPct val="100000"/>
              </a:lnSpc>
              <a:defRPr/>
            </a:pPr>
            <a:r>
              <a:rPr lang="fi-FI" sz="2400" b="1" dirty="0">
                <a:solidFill>
                  <a:prstClr val="black"/>
                </a:solidFill>
                <a:latin typeface="Segoe UI"/>
              </a:rPr>
              <a:t>KEDALAMAN KOMPETENSI BUJK &amp; TKK-KONSTRUKSI</a:t>
            </a:r>
          </a:p>
          <a:p>
            <a:pPr>
              <a:lnSpc>
                <a:spcPct val="100000"/>
              </a:lnSpc>
              <a:defRPr/>
            </a:pPr>
            <a:endParaRPr lang="fi-FI" sz="2400" b="1" dirty="0">
              <a:solidFill>
                <a:prstClr val="black"/>
              </a:solidFill>
              <a:latin typeface="Segoe UI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97D84F-083C-B149-28AC-F571BB005E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462F3B8B-2DF2-C8EA-C970-76999E67E028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713DC752-D9A9-0188-8FFB-695F95A36AD2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CDEFEBA5-34A4-7E88-976A-A14821485306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B2A9DF83-1D0C-6A4C-0D45-CC3402643A5A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3BD60FB4-5303-2FCB-BDA6-9722598BEAA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28281919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4BE9C8F0-0619-49A8-8605-05F5F4748582}"/>
              </a:ext>
            </a:extLst>
          </p:cNvPr>
          <p:cNvGrpSpPr/>
          <p:nvPr/>
        </p:nvGrpSpPr>
        <p:grpSpPr>
          <a:xfrm>
            <a:off x="895971" y="1217318"/>
            <a:ext cx="2555429" cy="2396893"/>
            <a:chOff x="728131" y="2276872"/>
            <a:chExt cx="2763749" cy="2592288"/>
          </a:xfrm>
        </p:grpSpPr>
        <p:sp>
          <p:nvSpPr>
            <p:cNvPr id="26" name="Block Arc 25">
              <a:extLst>
                <a:ext uri="{FF2B5EF4-FFF2-40B4-BE49-F238E27FC236}">
                  <a16:creationId xmlns:a16="http://schemas.microsoft.com/office/drawing/2014/main" id="{73E53A8A-F449-4554-96DF-24C21CB96A74}"/>
                </a:ext>
              </a:extLst>
            </p:cNvPr>
            <p:cNvSpPr/>
            <p:nvPr/>
          </p:nvSpPr>
          <p:spPr>
            <a:xfrm>
              <a:off x="899592" y="2276872"/>
              <a:ext cx="2592288" cy="2592288"/>
            </a:xfrm>
            <a:prstGeom prst="blockArc">
              <a:avLst>
                <a:gd name="adj1" fmla="val 12214054"/>
                <a:gd name="adj2" fmla="val 9664598"/>
                <a:gd name="adj3" fmla="val 14811"/>
              </a:avLst>
            </a:prstGeom>
            <a:solidFill>
              <a:srgbClr val="1E326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09FC263-C292-4D3B-9EF2-04DBA5A83D22}"/>
                </a:ext>
              </a:extLst>
            </p:cNvPr>
            <p:cNvSpPr txBox="1"/>
            <p:nvPr/>
          </p:nvSpPr>
          <p:spPr>
            <a:xfrm>
              <a:off x="728131" y="3185929"/>
              <a:ext cx="704458" cy="699020"/>
            </a:xfrm>
            <a:prstGeom prst="rect">
              <a:avLst/>
            </a:prstGeom>
            <a:noFill/>
          </p:spPr>
          <p:txBody>
            <a:bodyPr wrap="square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3600" b="1" i="0" u="none" strike="noStrike" kern="0" cap="none" spc="0" normalizeH="0" baseline="0" noProof="0" dirty="0">
                  <a:ln>
                    <a:noFill/>
                  </a:ln>
                  <a:solidFill>
                    <a:srgbClr val="1E3267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rPr>
                <a:t>01</a:t>
              </a:r>
              <a:endParaRPr kumimoji="0" lang="ko-KR" alt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Arial"/>
                <a:ea typeface="맑은 고딕" panose="020B0503020000020004" pitchFamily="34" charset="-127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D55B514-D020-43DA-9B1E-D25F6BE02F72}"/>
              </a:ext>
            </a:extLst>
          </p:cNvPr>
          <p:cNvGrpSpPr/>
          <p:nvPr/>
        </p:nvGrpSpPr>
        <p:grpSpPr>
          <a:xfrm>
            <a:off x="5230344" y="1222211"/>
            <a:ext cx="2555429" cy="2396893"/>
            <a:chOff x="728131" y="2276872"/>
            <a:chExt cx="2763749" cy="2592288"/>
          </a:xfrm>
        </p:grpSpPr>
        <p:sp>
          <p:nvSpPr>
            <p:cNvPr id="30" name="Block Arc 29">
              <a:extLst>
                <a:ext uri="{FF2B5EF4-FFF2-40B4-BE49-F238E27FC236}">
                  <a16:creationId xmlns:a16="http://schemas.microsoft.com/office/drawing/2014/main" id="{1290A8E1-CD6B-4375-9926-A7E505095707}"/>
                </a:ext>
              </a:extLst>
            </p:cNvPr>
            <p:cNvSpPr/>
            <p:nvPr/>
          </p:nvSpPr>
          <p:spPr>
            <a:xfrm>
              <a:off x="899592" y="2276872"/>
              <a:ext cx="2592288" cy="2592288"/>
            </a:xfrm>
            <a:prstGeom prst="blockArc">
              <a:avLst>
                <a:gd name="adj1" fmla="val 12214054"/>
                <a:gd name="adj2" fmla="val 9664598"/>
                <a:gd name="adj3" fmla="val 14811"/>
              </a:avLst>
            </a:prstGeom>
            <a:solidFill>
              <a:srgbClr val="24A8C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23B8A2A9-E7B9-4D08-A0CA-70157773296B}"/>
                </a:ext>
              </a:extLst>
            </p:cNvPr>
            <p:cNvSpPr txBox="1"/>
            <p:nvPr/>
          </p:nvSpPr>
          <p:spPr>
            <a:xfrm>
              <a:off x="728131" y="3185929"/>
              <a:ext cx="704458" cy="699020"/>
            </a:xfrm>
            <a:prstGeom prst="rect">
              <a:avLst/>
            </a:prstGeom>
            <a:noFill/>
          </p:spPr>
          <p:txBody>
            <a:bodyPr wrap="square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3600" b="1" i="0" u="none" strike="noStrike" kern="0" cap="none" spc="0" normalizeH="0" baseline="0" noProof="0" dirty="0">
                  <a:ln>
                    <a:noFill/>
                  </a:ln>
                  <a:solidFill>
                    <a:srgbClr val="24A8C2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rPr>
                <a:t>02</a:t>
              </a:r>
              <a:endParaRPr kumimoji="0" lang="ko-KR" alt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24A8C2"/>
                </a:solidFill>
                <a:effectLst/>
                <a:uLnTx/>
                <a:uFillTx/>
                <a:latin typeface="Arial"/>
                <a:ea typeface="맑은 고딕" panose="020B0503020000020004" pitchFamily="34" charset="-127"/>
                <a:cs typeface="+mn-cs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F1D0B04-C30A-4D46-BC2F-00207C3EAFA7}"/>
              </a:ext>
            </a:extLst>
          </p:cNvPr>
          <p:cNvGrpSpPr/>
          <p:nvPr/>
        </p:nvGrpSpPr>
        <p:grpSpPr>
          <a:xfrm>
            <a:off x="8831323" y="1224868"/>
            <a:ext cx="2555429" cy="2396893"/>
            <a:chOff x="728131" y="2276872"/>
            <a:chExt cx="2763749" cy="2592288"/>
          </a:xfrm>
        </p:grpSpPr>
        <p:sp>
          <p:nvSpPr>
            <p:cNvPr id="34" name="Block Arc 33">
              <a:extLst>
                <a:ext uri="{FF2B5EF4-FFF2-40B4-BE49-F238E27FC236}">
                  <a16:creationId xmlns:a16="http://schemas.microsoft.com/office/drawing/2014/main" id="{774D195D-2059-4E89-9E30-3388656E952D}"/>
                </a:ext>
              </a:extLst>
            </p:cNvPr>
            <p:cNvSpPr/>
            <p:nvPr/>
          </p:nvSpPr>
          <p:spPr>
            <a:xfrm>
              <a:off x="899592" y="2276872"/>
              <a:ext cx="2592288" cy="2592288"/>
            </a:xfrm>
            <a:prstGeom prst="blockArc">
              <a:avLst>
                <a:gd name="adj1" fmla="val 12214054"/>
                <a:gd name="adj2" fmla="val 9664598"/>
                <a:gd name="adj3" fmla="val 14811"/>
              </a:avLst>
            </a:prstGeom>
            <a:solidFill>
              <a:srgbClr val="00B05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646FEBB1-A8A4-42DE-A0B0-25955CB228EC}"/>
                </a:ext>
              </a:extLst>
            </p:cNvPr>
            <p:cNvSpPr txBox="1"/>
            <p:nvPr/>
          </p:nvSpPr>
          <p:spPr>
            <a:xfrm>
              <a:off x="728131" y="3185929"/>
              <a:ext cx="704458" cy="699020"/>
            </a:xfrm>
            <a:prstGeom prst="rect">
              <a:avLst/>
            </a:prstGeom>
            <a:noFill/>
          </p:spPr>
          <p:txBody>
            <a:bodyPr wrap="square" r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3600" b="1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/>
                  <a:ea typeface="맑은 고딕" panose="020B0503020000020004" pitchFamily="34" charset="-127"/>
                  <a:cs typeface="+mn-cs"/>
                </a:rPr>
                <a:t>03</a:t>
              </a:r>
              <a:endParaRPr kumimoji="0" lang="ko-KR" alt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맑은 고딕" panose="020B0503020000020004" pitchFamily="34" charset="-127"/>
                <a:cs typeface="+mn-cs"/>
              </a:endParaRPr>
            </a:p>
          </p:txBody>
        </p:sp>
      </p:grpSp>
      <p:sp>
        <p:nvSpPr>
          <p:cNvPr id="54" name="Oval 44">
            <a:extLst>
              <a:ext uri="{FF2B5EF4-FFF2-40B4-BE49-F238E27FC236}">
                <a16:creationId xmlns:a16="http://schemas.microsoft.com/office/drawing/2014/main" id="{7ECA576D-6FB4-469D-9DF4-461A129DE1E5}"/>
              </a:ext>
            </a:extLst>
          </p:cNvPr>
          <p:cNvSpPr>
            <a:spLocks noChangeAspect="1"/>
          </p:cNvSpPr>
          <p:nvPr/>
        </p:nvSpPr>
        <p:spPr>
          <a:xfrm>
            <a:off x="9835401" y="1860007"/>
            <a:ext cx="888358" cy="1057755"/>
          </a:xfrm>
          <a:custGeom>
            <a:avLst/>
            <a:gdLst/>
            <a:ahLst/>
            <a:cxnLst/>
            <a:rect l="l" t="t" r="r" b="b"/>
            <a:pathLst>
              <a:path w="2721114" h="3240000">
                <a:moveTo>
                  <a:pt x="2519839" y="2469622"/>
                </a:moveTo>
                <a:lnTo>
                  <a:pt x="2201779" y="2787682"/>
                </a:lnTo>
                <a:lnTo>
                  <a:pt x="2003023" y="2588926"/>
                </a:lnTo>
                <a:lnTo>
                  <a:pt x="1901669" y="2690281"/>
                </a:lnTo>
                <a:lnTo>
                  <a:pt x="2203868" y="2992480"/>
                </a:lnTo>
                <a:lnTo>
                  <a:pt x="2305222" y="2891125"/>
                </a:lnTo>
                <a:lnTo>
                  <a:pt x="2303133" y="2889037"/>
                </a:lnTo>
                <a:lnTo>
                  <a:pt x="2621194" y="2570977"/>
                </a:lnTo>
                <a:close/>
                <a:moveTo>
                  <a:pt x="2263914" y="2238970"/>
                </a:moveTo>
                <a:cubicBezTo>
                  <a:pt x="2516419" y="2238970"/>
                  <a:pt x="2721114" y="2443665"/>
                  <a:pt x="2721114" y="2696170"/>
                </a:cubicBezTo>
                <a:cubicBezTo>
                  <a:pt x="2721114" y="2948675"/>
                  <a:pt x="2516419" y="3153370"/>
                  <a:pt x="2263914" y="3153370"/>
                </a:cubicBezTo>
                <a:cubicBezTo>
                  <a:pt x="2011409" y="3153370"/>
                  <a:pt x="1806714" y="2948675"/>
                  <a:pt x="1806714" y="2696170"/>
                </a:cubicBezTo>
                <a:cubicBezTo>
                  <a:pt x="1806714" y="2443665"/>
                  <a:pt x="2011409" y="2238970"/>
                  <a:pt x="2263914" y="2238970"/>
                </a:cubicBezTo>
                <a:close/>
                <a:moveTo>
                  <a:pt x="1576134" y="17032"/>
                </a:moveTo>
                <a:lnTo>
                  <a:pt x="2276728" y="17032"/>
                </a:lnTo>
                <a:lnTo>
                  <a:pt x="2276728" y="17033"/>
                </a:lnTo>
                <a:lnTo>
                  <a:pt x="1576135" y="17033"/>
                </a:lnTo>
                <a:close/>
                <a:moveTo>
                  <a:pt x="0" y="17032"/>
                </a:moveTo>
                <a:lnTo>
                  <a:pt x="1321887" y="17032"/>
                </a:lnTo>
                <a:lnTo>
                  <a:pt x="1321887" y="996125"/>
                </a:lnTo>
                <a:lnTo>
                  <a:pt x="2276728" y="996125"/>
                </a:lnTo>
                <a:lnTo>
                  <a:pt x="2276728" y="2160187"/>
                </a:lnTo>
                <a:cubicBezTo>
                  <a:pt x="1979345" y="2161001"/>
                  <a:pt x="1738579" y="2402384"/>
                  <a:pt x="1738579" y="2700000"/>
                </a:cubicBezTo>
                <a:cubicBezTo>
                  <a:pt x="1738579" y="2997617"/>
                  <a:pt x="1979345" y="3238999"/>
                  <a:pt x="2276728" y="3239814"/>
                </a:cubicBezTo>
                <a:lnTo>
                  <a:pt x="2276728" y="3240000"/>
                </a:lnTo>
                <a:lnTo>
                  <a:pt x="0" y="3240000"/>
                </a:lnTo>
                <a:close/>
                <a:moveTo>
                  <a:pt x="1436085" y="0"/>
                </a:moveTo>
                <a:lnTo>
                  <a:pt x="2287664" y="888809"/>
                </a:lnTo>
                <a:lnTo>
                  <a:pt x="1436085" y="888809"/>
                </a:lnTo>
                <a:close/>
              </a:path>
            </a:pathLst>
          </a:cu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55" name="Rounded Rectangle 51">
            <a:extLst>
              <a:ext uri="{FF2B5EF4-FFF2-40B4-BE49-F238E27FC236}">
                <a16:creationId xmlns:a16="http://schemas.microsoft.com/office/drawing/2014/main" id="{C6096D02-146E-4978-AF9D-2DAD2ACFB8C2}"/>
              </a:ext>
            </a:extLst>
          </p:cNvPr>
          <p:cNvSpPr/>
          <p:nvPr/>
        </p:nvSpPr>
        <p:spPr>
          <a:xfrm rot="16200000" flipH="1">
            <a:off x="6019706" y="1779036"/>
            <a:ext cx="1131695" cy="1127385"/>
          </a:xfrm>
          <a:custGeom>
            <a:avLst/>
            <a:gdLst/>
            <a:ahLst/>
            <a:cxnLst/>
            <a:rect l="l" t="t" r="r" b="b"/>
            <a:pathLst>
              <a:path w="2928608" h="2758049">
                <a:moveTo>
                  <a:pt x="2797052" y="1199936"/>
                </a:moveTo>
                <a:lnTo>
                  <a:pt x="2797052" y="1541978"/>
                </a:lnTo>
                <a:cubicBezTo>
                  <a:pt x="2797052" y="1578306"/>
                  <a:pt x="2826502" y="1607756"/>
                  <a:pt x="2862830" y="1607756"/>
                </a:cubicBezTo>
                <a:lnTo>
                  <a:pt x="2862830" y="1607755"/>
                </a:lnTo>
                <a:cubicBezTo>
                  <a:pt x="2899158" y="1607755"/>
                  <a:pt x="2928608" y="1578305"/>
                  <a:pt x="2928608" y="1541977"/>
                </a:cubicBezTo>
                <a:lnTo>
                  <a:pt x="2928607" y="1199936"/>
                </a:lnTo>
                <a:cubicBezTo>
                  <a:pt x="2928607" y="1163608"/>
                  <a:pt x="2899158" y="1134159"/>
                  <a:pt x="2862830" y="1134158"/>
                </a:cubicBezTo>
                <a:cubicBezTo>
                  <a:pt x="2826502" y="1134159"/>
                  <a:pt x="2797052" y="1163608"/>
                  <a:pt x="2797052" y="1199936"/>
                </a:cubicBezTo>
                <a:close/>
                <a:moveTo>
                  <a:pt x="2593193" y="1147315"/>
                </a:moveTo>
                <a:lnTo>
                  <a:pt x="2593193" y="1594601"/>
                </a:lnTo>
                <a:cubicBezTo>
                  <a:pt x="2593193" y="1630929"/>
                  <a:pt x="2622643" y="1660379"/>
                  <a:pt x="2658971" y="1660379"/>
                </a:cubicBezTo>
                <a:lnTo>
                  <a:pt x="2658971" y="1660378"/>
                </a:lnTo>
                <a:cubicBezTo>
                  <a:pt x="2695299" y="1660378"/>
                  <a:pt x="2724749" y="1630928"/>
                  <a:pt x="2724749" y="1594600"/>
                </a:cubicBezTo>
                <a:lnTo>
                  <a:pt x="2724748" y="1147315"/>
                </a:lnTo>
                <a:cubicBezTo>
                  <a:pt x="2724748" y="1110987"/>
                  <a:pt x="2695299" y="1081538"/>
                  <a:pt x="2658971" y="1081537"/>
                </a:cubicBezTo>
                <a:cubicBezTo>
                  <a:pt x="2622643" y="1081538"/>
                  <a:pt x="2593193" y="1110987"/>
                  <a:pt x="2593193" y="1147315"/>
                </a:cubicBezTo>
                <a:close/>
                <a:moveTo>
                  <a:pt x="2389334" y="1121004"/>
                </a:moveTo>
                <a:lnTo>
                  <a:pt x="2389334" y="1620912"/>
                </a:lnTo>
                <a:cubicBezTo>
                  <a:pt x="2389334" y="1657240"/>
                  <a:pt x="2418784" y="1686690"/>
                  <a:pt x="2455112" y="1686690"/>
                </a:cubicBezTo>
                <a:lnTo>
                  <a:pt x="2455112" y="1686689"/>
                </a:lnTo>
                <a:cubicBezTo>
                  <a:pt x="2491440" y="1686689"/>
                  <a:pt x="2520890" y="1657239"/>
                  <a:pt x="2520890" y="1620911"/>
                </a:cubicBezTo>
                <a:lnTo>
                  <a:pt x="2520889" y="1121004"/>
                </a:lnTo>
                <a:cubicBezTo>
                  <a:pt x="2520889" y="1084676"/>
                  <a:pt x="2491440" y="1055227"/>
                  <a:pt x="2455112" y="1055226"/>
                </a:cubicBezTo>
                <a:cubicBezTo>
                  <a:pt x="2418784" y="1055227"/>
                  <a:pt x="2389334" y="1084676"/>
                  <a:pt x="2389334" y="1121004"/>
                </a:cubicBezTo>
                <a:close/>
                <a:moveTo>
                  <a:pt x="1314382" y="1247024"/>
                </a:moveTo>
                <a:cubicBezTo>
                  <a:pt x="1314381" y="1225915"/>
                  <a:pt x="1331494" y="1208803"/>
                  <a:pt x="1352603" y="1208803"/>
                </a:cubicBezTo>
                <a:lnTo>
                  <a:pt x="1410313" y="1208803"/>
                </a:lnTo>
                <a:lnTo>
                  <a:pt x="1410313" y="1146778"/>
                </a:lnTo>
                <a:cubicBezTo>
                  <a:pt x="1410313" y="1145599"/>
                  <a:pt x="1410393" y="1144438"/>
                  <a:pt x="1411688" y="1143457"/>
                </a:cubicBezTo>
                <a:lnTo>
                  <a:pt x="1408531" y="1133444"/>
                </a:lnTo>
                <a:cubicBezTo>
                  <a:pt x="1410371" y="1112415"/>
                  <a:pt x="1428909" y="1096860"/>
                  <a:pt x="1449938" y="1098699"/>
                </a:cubicBezTo>
                <a:lnTo>
                  <a:pt x="2236821" y="1167543"/>
                </a:lnTo>
                <a:cubicBezTo>
                  <a:pt x="2257849" y="1169383"/>
                  <a:pt x="2273405" y="1187920"/>
                  <a:pt x="2271565" y="1208950"/>
                </a:cubicBezTo>
                <a:cubicBezTo>
                  <a:pt x="2269725" y="1229978"/>
                  <a:pt x="2251187" y="1245533"/>
                  <a:pt x="2230159" y="1243693"/>
                </a:cubicBezTo>
                <a:cubicBezTo>
                  <a:pt x="1973864" y="1221271"/>
                  <a:pt x="1717570" y="1198849"/>
                  <a:pt x="1461275" y="1176426"/>
                </a:cubicBezTo>
                <a:lnTo>
                  <a:pt x="1461274" y="1208803"/>
                </a:lnTo>
                <a:lnTo>
                  <a:pt x="1518985" y="1208803"/>
                </a:lnTo>
                <a:cubicBezTo>
                  <a:pt x="1540095" y="1208802"/>
                  <a:pt x="1557205" y="1225915"/>
                  <a:pt x="1557206" y="1247025"/>
                </a:cubicBezTo>
                <a:lnTo>
                  <a:pt x="1557207" y="1247023"/>
                </a:lnTo>
                <a:cubicBezTo>
                  <a:pt x="1557207" y="1268132"/>
                  <a:pt x="1540095" y="1285244"/>
                  <a:pt x="1518986" y="1285244"/>
                </a:cubicBezTo>
                <a:cubicBezTo>
                  <a:pt x="1499749" y="1285244"/>
                  <a:pt x="1480511" y="1285243"/>
                  <a:pt x="1461275" y="1285244"/>
                </a:cubicBezTo>
                <a:lnTo>
                  <a:pt x="1461275" y="1337600"/>
                </a:lnTo>
                <a:lnTo>
                  <a:pt x="1518985" y="1337600"/>
                </a:lnTo>
                <a:cubicBezTo>
                  <a:pt x="1540095" y="1337600"/>
                  <a:pt x="1557206" y="1354713"/>
                  <a:pt x="1557206" y="1375821"/>
                </a:cubicBezTo>
                <a:lnTo>
                  <a:pt x="1557207" y="1375820"/>
                </a:lnTo>
                <a:cubicBezTo>
                  <a:pt x="1557206" y="1396928"/>
                  <a:pt x="1540095" y="1414041"/>
                  <a:pt x="1518986" y="1414041"/>
                </a:cubicBezTo>
                <a:cubicBezTo>
                  <a:pt x="1499750" y="1414041"/>
                  <a:pt x="1480511" y="1414041"/>
                  <a:pt x="1461275" y="1414042"/>
                </a:cubicBezTo>
                <a:lnTo>
                  <a:pt x="1461275" y="1466398"/>
                </a:lnTo>
                <a:lnTo>
                  <a:pt x="1518985" y="1466398"/>
                </a:lnTo>
                <a:cubicBezTo>
                  <a:pt x="1540095" y="1466398"/>
                  <a:pt x="1557206" y="1483509"/>
                  <a:pt x="1557206" y="1504618"/>
                </a:cubicBezTo>
                <a:lnTo>
                  <a:pt x="1557207" y="1504619"/>
                </a:lnTo>
                <a:cubicBezTo>
                  <a:pt x="1557207" y="1525727"/>
                  <a:pt x="1540094" y="1542838"/>
                  <a:pt x="1518986" y="1542839"/>
                </a:cubicBezTo>
                <a:cubicBezTo>
                  <a:pt x="1499749" y="1542839"/>
                  <a:pt x="1480511" y="1542838"/>
                  <a:pt x="1461275" y="1542839"/>
                </a:cubicBezTo>
                <a:lnTo>
                  <a:pt x="1461274" y="1575412"/>
                </a:lnTo>
                <a:lnTo>
                  <a:pt x="2226550" y="1494978"/>
                </a:lnTo>
                <a:cubicBezTo>
                  <a:pt x="2247542" y="1492772"/>
                  <a:pt x="2266350" y="1508001"/>
                  <a:pt x="2268556" y="1528995"/>
                </a:cubicBezTo>
                <a:cubicBezTo>
                  <a:pt x="2270763" y="1549988"/>
                  <a:pt x="2255534" y="1568794"/>
                  <a:pt x="2234542" y="1571000"/>
                </a:cubicBezTo>
                <a:cubicBezTo>
                  <a:pt x="1972686" y="1598522"/>
                  <a:pt x="1710833" y="1626046"/>
                  <a:pt x="1448978" y="1653567"/>
                </a:cubicBezTo>
                <a:cubicBezTo>
                  <a:pt x="1427984" y="1655774"/>
                  <a:pt x="1409178" y="1640544"/>
                  <a:pt x="1406971" y="1619551"/>
                </a:cubicBezTo>
                <a:cubicBezTo>
                  <a:pt x="1406474" y="1614827"/>
                  <a:pt x="1406862" y="1610214"/>
                  <a:pt x="1410805" y="1606610"/>
                </a:cubicBezTo>
                <a:lnTo>
                  <a:pt x="1410312" y="1605422"/>
                </a:lnTo>
                <a:lnTo>
                  <a:pt x="1410312" y="1542839"/>
                </a:lnTo>
                <a:lnTo>
                  <a:pt x="1352603" y="1542841"/>
                </a:lnTo>
                <a:cubicBezTo>
                  <a:pt x="1331494" y="1542841"/>
                  <a:pt x="1314382" y="1525729"/>
                  <a:pt x="1314382" y="1504619"/>
                </a:cubicBezTo>
                <a:cubicBezTo>
                  <a:pt x="1314382" y="1483510"/>
                  <a:pt x="1331493" y="1466397"/>
                  <a:pt x="1352603" y="1466398"/>
                </a:cubicBezTo>
                <a:lnTo>
                  <a:pt x="1410312" y="1466398"/>
                </a:lnTo>
                <a:lnTo>
                  <a:pt x="1410313" y="1414042"/>
                </a:lnTo>
                <a:lnTo>
                  <a:pt x="1352603" y="1414042"/>
                </a:lnTo>
                <a:cubicBezTo>
                  <a:pt x="1331494" y="1414041"/>
                  <a:pt x="1314383" y="1396930"/>
                  <a:pt x="1314382" y="1375820"/>
                </a:cubicBezTo>
                <a:cubicBezTo>
                  <a:pt x="1314383" y="1354713"/>
                  <a:pt x="1331494" y="1337600"/>
                  <a:pt x="1352603" y="1337601"/>
                </a:cubicBezTo>
                <a:lnTo>
                  <a:pt x="1410312" y="1337600"/>
                </a:lnTo>
                <a:lnTo>
                  <a:pt x="1410312" y="1285244"/>
                </a:lnTo>
                <a:lnTo>
                  <a:pt x="1352603" y="1285244"/>
                </a:lnTo>
                <a:cubicBezTo>
                  <a:pt x="1331494" y="1285244"/>
                  <a:pt x="1314381" y="1268133"/>
                  <a:pt x="1314382" y="1247024"/>
                </a:cubicBezTo>
                <a:close/>
                <a:moveTo>
                  <a:pt x="1171967" y="72000"/>
                </a:moveTo>
                <a:lnTo>
                  <a:pt x="1171967" y="288000"/>
                </a:lnTo>
                <a:cubicBezTo>
                  <a:pt x="1171967" y="327765"/>
                  <a:pt x="1204202" y="360000"/>
                  <a:pt x="1243967" y="360000"/>
                </a:cubicBezTo>
                <a:cubicBezTo>
                  <a:pt x="1283732" y="360000"/>
                  <a:pt x="1315967" y="327765"/>
                  <a:pt x="1315967" y="288000"/>
                </a:cubicBezTo>
                <a:lnTo>
                  <a:pt x="1315967" y="72000"/>
                </a:lnTo>
                <a:cubicBezTo>
                  <a:pt x="1315967" y="32235"/>
                  <a:pt x="1283732" y="0"/>
                  <a:pt x="1243967" y="0"/>
                </a:cubicBezTo>
                <a:cubicBezTo>
                  <a:pt x="1204202" y="0"/>
                  <a:pt x="1171967" y="32235"/>
                  <a:pt x="1171967" y="72000"/>
                </a:cubicBezTo>
                <a:close/>
                <a:moveTo>
                  <a:pt x="1171966" y="2470049"/>
                </a:moveTo>
                <a:lnTo>
                  <a:pt x="1171966" y="2686049"/>
                </a:lnTo>
                <a:cubicBezTo>
                  <a:pt x="1171966" y="2725814"/>
                  <a:pt x="1204201" y="2758049"/>
                  <a:pt x="1243966" y="2758049"/>
                </a:cubicBezTo>
                <a:cubicBezTo>
                  <a:pt x="1283731" y="2758049"/>
                  <a:pt x="1315966" y="2725814"/>
                  <a:pt x="1315966" y="2686049"/>
                </a:cubicBezTo>
                <a:lnTo>
                  <a:pt x="1315966" y="2470049"/>
                </a:lnTo>
                <a:cubicBezTo>
                  <a:pt x="1315966" y="2430284"/>
                  <a:pt x="1283731" y="2398049"/>
                  <a:pt x="1243966" y="2398049"/>
                </a:cubicBezTo>
                <a:cubicBezTo>
                  <a:pt x="1204201" y="2398049"/>
                  <a:pt x="1171966" y="2430284"/>
                  <a:pt x="1171966" y="2470049"/>
                </a:cubicBezTo>
                <a:close/>
                <a:moveTo>
                  <a:pt x="515345" y="1370958"/>
                </a:moveTo>
                <a:cubicBezTo>
                  <a:pt x="515344" y="1558300"/>
                  <a:pt x="586814" y="1745642"/>
                  <a:pt x="729750" y="1888579"/>
                </a:cubicBezTo>
                <a:cubicBezTo>
                  <a:pt x="1015625" y="2174454"/>
                  <a:pt x="1479119" y="2174454"/>
                  <a:pt x="1764994" y="1888580"/>
                </a:cubicBezTo>
                <a:lnTo>
                  <a:pt x="1940572" y="1713001"/>
                </a:lnTo>
                <a:lnTo>
                  <a:pt x="2136413" y="1713002"/>
                </a:lnTo>
                <a:cubicBezTo>
                  <a:pt x="2215124" y="1713001"/>
                  <a:pt x="2278929" y="1649195"/>
                  <a:pt x="2278929" y="1570486"/>
                </a:cubicBezTo>
                <a:lnTo>
                  <a:pt x="2278929" y="1374645"/>
                </a:lnTo>
                <a:lnTo>
                  <a:pt x="2282614" y="1370959"/>
                </a:lnTo>
                <a:lnTo>
                  <a:pt x="2278929" y="1367272"/>
                </a:lnTo>
                <a:lnTo>
                  <a:pt x="2278929" y="1171432"/>
                </a:lnTo>
                <a:cubicBezTo>
                  <a:pt x="2278929" y="1092722"/>
                  <a:pt x="2215123" y="1028916"/>
                  <a:pt x="2136413" y="1028916"/>
                </a:cubicBezTo>
                <a:lnTo>
                  <a:pt x="1940571" y="1028916"/>
                </a:lnTo>
                <a:cubicBezTo>
                  <a:pt x="1882045" y="970390"/>
                  <a:pt x="1823519" y="911862"/>
                  <a:pt x="1764993" y="853336"/>
                </a:cubicBezTo>
                <a:cubicBezTo>
                  <a:pt x="1479118" y="567461"/>
                  <a:pt x="1015625" y="567462"/>
                  <a:pt x="729750" y="853336"/>
                </a:cubicBezTo>
                <a:cubicBezTo>
                  <a:pt x="586813" y="996273"/>
                  <a:pt x="515344" y="1183616"/>
                  <a:pt x="515345" y="1370958"/>
                </a:cubicBezTo>
                <a:close/>
                <a:moveTo>
                  <a:pt x="388776" y="2386770"/>
                </a:moveTo>
                <a:cubicBezTo>
                  <a:pt x="388776" y="2405196"/>
                  <a:pt x="395805" y="2423622"/>
                  <a:pt x="409865" y="2437681"/>
                </a:cubicBezTo>
                <a:cubicBezTo>
                  <a:pt x="437983" y="2465800"/>
                  <a:pt x="483570" y="2465800"/>
                  <a:pt x="511688" y="2437681"/>
                </a:cubicBezTo>
                <a:lnTo>
                  <a:pt x="664423" y="2284946"/>
                </a:lnTo>
                <a:cubicBezTo>
                  <a:pt x="692541" y="2256828"/>
                  <a:pt x="692541" y="2211241"/>
                  <a:pt x="664423" y="2183123"/>
                </a:cubicBezTo>
                <a:cubicBezTo>
                  <a:pt x="636305" y="2155005"/>
                  <a:pt x="590718" y="2155005"/>
                  <a:pt x="562599" y="2183123"/>
                </a:cubicBezTo>
                <a:lnTo>
                  <a:pt x="409865" y="2335858"/>
                </a:lnTo>
                <a:cubicBezTo>
                  <a:pt x="395805" y="2349917"/>
                  <a:pt x="388776" y="2368343"/>
                  <a:pt x="388776" y="2386770"/>
                </a:cubicBezTo>
                <a:close/>
                <a:moveTo>
                  <a:pt x="388776" y="365689"/>
                </a:moveTo>
                <a:cubicBezTo>
                  <a:pt x="388776" y="384115"/>
                  <a:pt x="395805" y="402541"/>
                  <a:pt x="409865" y="416600"/>
                </a:cubicBezTo>
                <a:lnTo>
                  <a:pt x="562599" y="569335"/>
                </a:lnTo>
                <a:cubicBezTo>
                  <a:pt x="590718" y="597454"/>
                  <a:pt x="636305" y="597454"/>
                  <a:pt x="664423" y="569335"/>
                </a:cubicBezTo>
                <a:cubicBezTo>
                  <a:pt x="692541" y="541217"/>
                  <a:pt x="692541" y="495630"/>
                  <a:pt x="664423" y="467512"/>
                </a:cubicBezTo>
                <a:lnTo>
                  <a:pt x="511688" y="314777"/>
                </a:lnTo>
                <a:cubicBezTo>
                  <a:pt x="483570" y="286659"/>
                  <a:pt x="437983" y="286659"/>
                  <a:pt x="409865" y="314777"/>
                </a:cubicBezTo>
                <a:cubicBezTo>
                  <a:pt x="395805" y="328836"/>
                  <a:pt x="388776" y="347262"/>
                  <a:pt x="388776" y="365689"/>
                </a:cubicBezTo>
                <a:close/>
                <a:moveTo>
                  <a:pt x="0" y="1379024"/>
                </a:moveTo>
                <a:cubicBezTo>
                  <a:pt x="0" y="1418789"/>
                  <a:pt x="32235" y="1451024"/>
                  <a:pt x="72000" y="1451024"/>
                </a:cubicBezTo>
                <a:lnTo>
                  <a:pt x="288000" y="1451024"/>
                </a:lnTo>
                <a:cubicBezTo>
                  <a:pt x="327765" y="1451024"/>
                  <a:pt x="360000" y="1418789"/>
                  <a:pt x="360000" y="1379024"/>
                </a:cubicBezTo>
                <a:cubicBezTo>
                  <a:pt x="360000" y="1339259"/>
                  <a:pt x="327765" y="1307024"/>
                  <a:pt x="288000" y="1307024"/>
                </a:cubicBezTo>
                <a:lnTo>
                  <a:pt x="72000" y="1307024"/>
                </a:lnTo>
                <a:cubicBezTo>
                  <a:pt x="32235" y="1307024"/>
                  <a:pt x="0" y="1339259"/>
                  <a:pt x="0" y="1379024"/>
                </a:cubicBezTo>
                <a:close/>
              </a:path>
            </a:pathLst>
          </a:custGeom>
          <a:solidFill>
            <a:srgbClr val="24A8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919A4B0-BE12-4B30-82B4-86EDE049B32E}"/>
              </a:ext>
            </a:extLst>
          </p:cNvPr>
          <p:cNvGrpSpPr/>
          <p:nvPr/>
        </p:nvGrpSpPr>
        <p:grpSpPr>
          <a:xfrm>
            <a:off x="1744411" y="1753511"/>
            <a:ext cx="1017088" cy="1215057"/>
            <a:chOff x="7981066" y="2575110"/>
            <a:chExt cx="1017088" cy="1215057"/>
          </a:xfrm>
          <a:solidFill>
            <a:srgbClr val="1E3267"/>
          </a:solidFill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E5755BFF-C33F-4CD9-AE2B-88636FC36D9C}"/>
                </a:ext>
              </a:extLst>
            </p:cNvPr>
            <p:cNvSpPr/>
            <p:nvPr/>
          </p:nvSpPr>
          <p:spPr>
            <a:xfrm>
              <a:off x="7981066" y="2811194"/>
              <a:ext cx="1017088" cy="978973"/>
            </a:xfrm>
            <a:custGeom>
              <a:avLst/>
              <a:gdLst>
                <a:gd name="connsiteX0" fmla="*/ 1708938 w 2163080"/>
                <a:gd name="connsiteY0" fmla="*/ 2004560 h 2082019"/>
                <a:gd name="connsiteX1" fmla="*/ 1708938 w 2163080"/>
                <a:gd name="connsiteY1" fmla="*/ 2044384 h 2082019"/>
                <a:gd name="connsiteX2" fmla="*/ 2059441 w 2163080"/>
                <a:gd name="connsiteY2" fmla="*/ 2044384 h 2082019"/>
                <a:gd name="connsiteX3" fmla="*/ 2059441 w 2163080"/>
                <a:gd name="connsiteY3" fmla="*/ 2004560 h 2082019"/>
                <a:gd name="connsiteX4" fmla="*/ 1293406 w 2163080"/>
                <a:gd name="connsiteY4" fmla="*/ 2004560 h 2082019"/>
                <a:gd name="connsiteX5" fmla="*/ 1293406 w 2163080"/>
                <a:gd name="connsiteY5" fmla="*/ 2044384 h 2082019"/>
                <a:gd name="connsiteX6" fmla="*/ 1643909 w 2163080"/>
                <a:gd name="connsiteY6" fmla="*/ 2044384 h 2082019"/>
                <a:gd name="connsiteX7" fmla="*/ 1643909 w 2163080"/>
                <a:gd name="connsiteY7" fmla="*/ 2004560 h 2082019"/>
                <a:gd name="connsiteX8" fmla="*/ 1708938 w 2163080"/>
                <a:gd name="connsiteY8" fmla="*/ 1943463 h 2082019"/>
                <a:gd name="connsiteX9" fmla="*/ 1708938 w 2163080"/>
                <a:gd name="connsiteY9" fmla="*/ 1983287 h 2082019"/>
                <a:gd name="connsiteX10" fmla="*/ 2059441 w 2163080"/>
                <a:gd name="connsiteY10" fmla="*/ 1983287 h 2082019"/>
                <a:gd name="connsiteX11" fmla="*/ 2059441 w 2163080"/>
                <a:gd name="connsiteY11" fmla="*/ 1943463 h 2082019"/>
                <a:gd name="connsiteX12" fmla="*/ 1293406 w 2163080"/>
                <a:gd name="connsiteY12" fmla="*/ 1943463 h 2082019"/>
                <a:gd name="connsiteX13" fmla="*/ 1293406 w 2163080"/>
                <a:gd name="connsiteY13" fmla="*/ 1983287 h 2082019"/>
                <a:gd name="connsiteX14" fmla="*/ 1643909 w 2163080"/>
                <a:gd name="connsiteY14" fmla="*/ 1983287 h 2082019"/>
                <a:gd name="connsiteX15" fmla="*/ 1643909 w 2163080"/>
                <a:gd name="connsiteY15" fmla="*/ 1943463 h 2082019"/>
                <a:gd name="connsiteX16" fmla="*/ 1708938 w 2163080"/>
                <a:gd name="connsiteY16" fmla="*/ 1882367 h 2082019"/>
                <a:gd name="connsiteX17" fmla="*/ 1708938 w 2163080"/>
                <a:gd name="connsiteY17" fmla="*/ 1922191 h 2082019"/>
                <a:gd name="connsiteX18" fmla="*/ 2059441 w 2163080"/>
                <a:gd name="connsiteY18" fmla="*/ 1922191 h 2082019"/>
                <a:gd name="connsiteX19" fmla="*/ 2059441 w 2163080"/>
                <a:gd name="connsiteY19" fmla="*/ 1882367 h 2082019"/>
                <a:gd name="connsiteX20" fmla="*/ 1293406 w 2163080"/>
                <a:gd name="connsiteY20" fmla="*/ 1882367 h 2082019"/>
                <a:gd name="connsiteX21" fmla="*/ 1293406 w 2163080"/>
                <a:gd name="connsiteY21" fmla="*/ 1922191 h 2082019"/>
                <a:gd name="connsiteX22" fmla="*/ 1643909 w 2163080"/>
                <a:gd name="connsiteY22" fmla="*/ 1922191 h 2082019"/>
                <a:gd name="connsiteX23" fmla="*/ 1643909 w 2163080"/>
                <a:gd name="connsiteY23" fmla="*/ 1882367 h 2082019"/>
                <a:gd name="connsiteX24" fmla="*/ 1024178 w 2163080"/>
                <a:gd name="connsiteY24" fmla="*/ 1873675 h 2082019"/>
                <a:gd name="connsiteX25" fmla="*/ 1024178 w 2163080"/>
                <a:gd name="connsiteY25" fmla="*/ 1939321 h 2082019"/>
                <a:gd name="connsiteX26" fmla="*/ 1122274 w 2163080"/>
                <a:gd name="connsiteY26" fmla="*/ 1939321 h 2082019"/>
                <a:gd name="connsiteX27" fmla="*/ 1122274 w 2163080"/>
                <a:gd name="connsiteY27" fmla="*/ 1873675 h 2082019"/>
                <a:gd name="connsiteX28" fmla="*/ 840577 w 2163080"/>
                <a:gd name="connsiteY28" fmla="*/ 1873675 h 2082019"/>
                <a:gd name="connsiteX29" fmla="*/ 840577 w 2163080"/>
                <a:gd name="connsiteY29" fmla="*/ 1939321 h 2082019"/>
                <a:gd name="connsiteX30" fmla="*/ 938673 w 2163080"/>
                <a:gd name="connsiteY30" fmla="*/ 1939321 h 2082019"/>
                <a:gd name="connsiteX31" fmla="*/ 938673 w 2163080"/>
                <a:gd name="connsiteY31" fmla="*/ 1873675 h 2082019"/>
                <a:gd name="connsiteX32" fmla="*/ 656977 w 2163080"/>
                <a:gd name="connsiteY32" fmla="*/ 1873675 h 2082019"/>
                <a:gd name="connsiteX33" fmla="*/ 656977 w 2163080"/>
                <a:gd name="connsiteY33" fmla="*/ 1939321 h 2082019"/>
                <a:gd name="connsiteX34" fmla="*/ 755073 w 2163080"/>
                <a:gd name="connsiteY34" fmla="*/ 1939321 h 2082019"/>
                <a:gd name="connsiteX35" fmla="*/ 755073 w 2163080"/>
                <a:gd name="connsiteY35" fmla="*/ 1873675 h 2082019"/>
                <a:gd name="connsiteX36" fmla="*/ 1708938 w 2163080"/>
                <a:gd name="connsiteY36" fmla="*/ 1821270 h 2082019"/>
                <a:gd name="connsiteX37" fmla="*/ 1708938 w 2163080"/>
                <a:gd name="connsiteY37" fmla="*/ 1861094 h 2082019"/>
                <a:gd name="connsiteX38" fmla="*/ 2059441 w 2163080"/>
                <a:gd name="connsiteY38" fmla="*/ 1861094 h 2082019"/>
                <a:gd name="connsiteX39" fmla="*/ 2059441 w 2163080"/>
                <a:gd name="connsiteY39" fmla="*/ 1821270 h 2082019"/>
                <a:gd name="connsiteX40" fmla="*/ 1293406 w 2163080"/>
                <a:gd name="connsiteY40" fmla="*/ 1821270 h 2082019"/>
                <a:gd name="connsiteX41" fmla="*/ 1293406 w 2163080"/>
                <a:gd name="connsiteY41" fmla="*/ 1861094 h 2082019"/>
                <a:gd name="connsiteX42" fmla="*/ 1643909 w 2163080"/>
                <a:gd name="connsiteY42" fmla="*/ 1861094 h 2082019"/>
                <a:gd name="connsiteX43" fmla="*/ 1643909 w 2163080"/>
                <a:gd name="connsiteY43" fmla="*/ 1821270 h 2082019"/>
                <a:gd name="connsiteX44" fmla="*/ 1024178 w 2163080"/>
                <a:gd name="connsiteY44" fmla="*/ 1737466 h 2082019"/>
                <a:gd name="connsiteX45" fmla="*/ 1024178 w 2163080"/>
                <a:gd name="connsiteY45" fmla="*/ 1803112 h 2082019"/>
                <a:gd name="connsiteX46" fmla="*/ 1122274 w 2163080"/>
                <a:gd name="connsiteY46" fmla="*/ 1803112 h 2082019"/>
                <a:gd name="connsiteX47" fmla="*/ 1122274 w 2163080"/>
                <a:gd name="connsiteY47" fmla="*/ 1737466 h 2082019"/>
                <a:gd name="connsiteX48" fmla="*/ 840577 w 2163080"/>
                <a:gd name="connsiteY48" fmla="*/ 1737466 h 2082019"/>
                <a:gd name="connsiteX49" fmla="*/ 840577 w 2163080"/>
                <a:gd name="connsiteY49" fmla="*/ 1803112 h 2082019"/>
                <a:gd name="connsiteX50" fmla="*/ 938673 w 2163080"/>
                <a:gd name="connsiteY50" fmla="*/ 1803112 h 2082019"/>
                <a:gd name="connsiteX51" fmla="*/ 938673 w 2163080"/>
                <a:gd name="connsiteY51" fmla="*/ 1737466 h 2082019"/>
                <a:gd name="connsiteX52" fmla="*/ 656977 w 2163080"/>
                <a:gd name="connsiteY52" fmla="*/ 1737466 h 2082019"/>
                <a:gd name="connsiteX53" fmla="*/ 656977 w 2163080"/>
                <a:gd name="connsiteY53" fmla="*/ 1803112 h 2082019"/>
                <a:gd name="connsiteX54" fmla="*/ 755073 w 2163080"/>
                <a:gd name="connsiteY54" fmla="*/ 1803112 h 2082019"/>
                <a:gd name="connsiteX55" fmla="*/ 755073 w 2163080"/>
                <a:gd name="connsiteY55" fmla="*/ 1737466 h 2082019"/>
                <a:gd name="connsiteX56" fmla="*/ 1024178 w 2163080"/>
                <a:gd name="connsiteY56" fmla="*/ 1601257 h 2082019"/>
                <a:gd name="connsiteX57" fmla="*/ 1024178 w 2163080"/>
                <a:gd name="connsiteY57" fmla="*/ 1666903 h 2082019"/>
                <a:gd name="connsiteX58" fmla="*/ 1122274 w 2163080"/>
                <a:gd name="connsiteY58" fmla="*/ 1666903 h 2082019"/>
                <a:gd name="connsiteX59" fmla="*/ 1122274 w 2163080"/>
                <a:gd name="connsiteY59" fmla="*/ 1601257 h 2082019"/>
                <a:gd name="connsiteX60" fmla="*/ 840577 w 2163080"/>
                <a:gd name="connsiteY60" fmla="*/ 1601257 h 2082019"/>
                <a:gd name="connsiteX61" fmla="*/ 840577 w 2163080"/>
                <a:gd name="connsiteY61" fmla="*/ 1666903 h 2082019"/>
                <a:gd name="connsiteX62" fmla="*/ 938673 w 2163080"/>
                <a:gd name="connsiteY62" fmla="*/ 1666903 h 2082019"/>
                <a:gd name="connsiteX63" fmla="*/ 938673 w 2163080"/>
                <a:gd name="connsiteY63" fmla="*/ 1601257 h 2082019"/>
                <a:gd name="connsiteX64" fmla="*/ 656977 w 2163080"/>
                <a:gd name="connsiteY64" fmla="*/ 1601257 h 2082019"/>
                <a:gd name="connsiteX65" fmla="*/ 656977 w 2163080"/>
                <a:gd name="connsiteY65" fmla="*/ 1666903 h 2082019"/>
                <a:gd name="connsiteX66" fmla="*/ 755073 w 2163080"/>
                <a:gd name="connsiteY66" fmla="*/ 1666903 h 2082019"/>
                <a:gd name="connsiteX67" fmla="*/ 755073 w 2163080"/>
                <a:gd name="connsiteY67" fmla="*/ 1601257 h 2082019"/>
                <a:gd name="connsiteX68" fmla="*/ 1949811 w 2163080"/>
                <a:gd name="connsiteY68" fmla="*/ 1437108 h 2082019"/>
                <a:gd name="connsiteX69" fmla="*/ 1949811 w 2163080"/>
                <a:gd name="connsiteY69" fmla="*/ 1502754 h 2082019"/>
                <a:gd name="connsiteX70" fmla="*/ 2047907 w 2163080"/>
                <a:gd name="connsiteY70" fmla="*/ 1502754 h 2082019"/>
                <a:gd name="connsiteX71" fmla="*/ 2047907 w 2163080"/>
                <a:gd name="connsiteY71" fmla="*/ 1437108 h 2082019"/>
                <a:gd name="connsiteX72" fmla="*/ 1766210 w 2163080"/>
                <a:gd name="connsiteY72" fmla="*/ 1437108 h 2082019"/>
                <a:gd name="connsiteX73" fmla="*/ 1766210 w 2163080"/>
                <a:gd name="connsiteY73" fmla="*/ 1502754 h 2082019"/>
                <a:gd name="connsiteX74" fmla="*/ 1864306 w 2163080"/>
                <a:gd name="connsiteY74" fmla="*/ 1502754 h 2082019"/>
                <a:gd name="connsiteX75" fmla="*/ 1864306 w 2163080"/>
                <a:gd name="connsiteY75" fmla="*/ 1437108 h 2082019"/>
                <a:gd name="connsiteX76" fmla="*/ 1582610 w 2163080"/>
                <a:gd name="connsiteY76" fmla="*/ 1437108 h 2082019"/>
                <a:gd name="connsiteX77" fmla="*/ 1582610 w 2163080"/>
                <a:gd name="connsiteY77" fmla="*/ 1502754 h 2082019"/>
                <a:gd name="connsiteX78" fmla="*/ 1680706 w 2163080"/>
                <a:gd name="connsiteY78" fmla="*/ 1502754 h 2082019"/>
                <a:gd name="connsiteX79" fmla="*/ 1680706 w 2163080"/>
                <a:gd name="connsiteY79" fmla="*/ 1437108 h 2082019"/>
                <a:gd name="connsiteX80" fmla="*/ 1386037 w 2163080"/>
                <a:gd name="connsiteY80" fmla="*/ 1437108 h 2082019"/>
                <a:gd name="connsiteX81" fmla="*/ 1386037 w 2163080"/>
                <a:gd name="connsiteY81" fmla="*/ 1502754 h 2082019"/>
                <a:gd name="connsiteX82" fmla="*/ 1484133 w 2163080"/>
                <a:gd name="connsiteY82" fmla="*/ 1502754 h 2082019"/>
                <a:gd name="connsiteX83" fmla="*/ 1484133 w 2163080"/>
                <a:gd name="connsiteY83" fmla="*/ 1437108 h 2082019"/>
                <a:gd name="connsiteX84" fmla="*/ 1202437 w 2163080"/>
                <a:gd name="connsiteY84" fmla="*/ 1437108 h 2082019"/>
                <a:gd name="connsiteX85" fmla="*/ 1202437 w 2163080"/>
                <a:gd name="connsiteY85" fmla="*/ 1502754 h 2082019"/>
                <a:gd name="connsiteX86" fmla="*/ 1300533 w 2163080"/>
                <a:gd name="connsiteY86" fmla="*/ 1502754 h 2082019"/>
                <a:gd name="connsiteX87" fmla="*/ 1300533 w 2163080"/>
                <a:gd name="connsiteY87" fmla="*/ 1437108 h 2082019"/>
                <a:gd name="connsiteX88" fmla="*/ 1024178 w 2163080"/>
                <a:gd name="connsiteY88" fmla="*/ 1437108 h 2082019"/>
                <a:gd name="connsiteX89" fmla="*/ 1024178 w 2163080"/>
                <a:gd name="connsiteY89" fmla="*/ 1502754 h 2082019"/>
                <a:gd name="connsiteX90" fmla="*/ 1122274 w 2163080"/>
                <a:gd name="connsiteY90" fmla="*/ 1502754 h 2082019"/>
                <a:gd name="connsiteX91" fmla="*/ 1122274 w 2163080"/>
                <a:gd name="connsiteY91" fmla="*/ 1437108 h 2082019"/>
                <a:gd name="connsiteX92" fmla="*/ 840577 w 2163080"/>
                <a:gd name="connsiteY92" fmla="*/ 1437108 h 2082019"/>
                <a:gd name="connsiteX93" fmla="*/ 840577 w 2163080"/>
                <a:gd name="connsiteY93" fmla="*/ 1502754 h 2082019"/>
                <a:gd name="connsiteX94" fmla="*/ 938673 w 2163080"/>
                <a:gd name="connsiteY94" fmla="*/ 1502754 h 2082019"/>
                <a:gd name="connsiteX95" fmla="*/ 938673 w 2163080"/>
                <a:gd name="connsiteY95" fmla="*/ 1437108 h 2082019"/>
                <a:gd name="connsiteX96" fmla="*/ 656977 w 2163080"/>
                <a:gd name="connsiteY96" fmla="*/ 1437108 h 2082019"/>
                <a:gd name="connsiteX97" fmla="*/ 656977 w 2163080"/>
                <a:gd name="connsiteY97" fmla="*/ 1502754 h 2082019"/>
                <a:gd name="connsiteX98" fmla="*/ 755073 w 2163080"/>
                <a:gd name="connsiteY98" fmla="*/ 1502754 h 2082019"/>
                <a:gd name="connsiteX99" fmla="*/ 755073 w 2163080"/>
                <a:gd name="connsiteY99" fmla="*/ 1437108 h 2082019"/>
                <a:gd name="connsiteX100" fmla="*/ 1037978 w 2163080"/>
                <a:gd name="connsiteY100" fmla="*/ 331011 h 2082019"/>
                <a:gd name="connsiteX101" fmla="*/ 1037978 w 2163080"/>
                <a:gd name="connsiteY101" fmla="*/ 465308 h 2082019"/>
                <a:gd name="connsiteX102" fmla="*/ 1059098 w 2163080"/>
                <a:gd name="connsiteY102" fmla="*/ 468502 h 2082019"/>
                <a:gd name="connsiteX103" fmla="*/ 1162875 w 2163080"/>
                <a:gd name="connsiteY103" fmla="*/ 562591 h 2082019"/>
                <a:gd name="connsiteX104" fmla="*/ 1173239 w 2163080"/>
                <a:gd name="connsiteY104" fmla="*/ 613926 h 2082019"/>
                <a:gd name="connsiteX105" fmla="*/ 1175942 w 2163080"/>
                <a:gd name="connsiteY105" fmla="*/ 613926 h 2082019"/>
                <a:gd name="connsiteX106" fmla="*/ 1175942 w 2163080"/>
                <a:gd name="connsiteY106" fmla="*/ 627317 h 2082019"/>
                <a:gd name="connsiteX107" fmla="*/ 1175943 w 2163080"/>
                <a:gd name="connsiteY107" fmla="*/ 627321 h 2082019"/>
                <a:gd name="connsiteX108" fmla="*/ 1175942 w 2163080"/>
                <a:gd name="connsiteY108" fmla="*/ 1063497 h 2082019"/>
                <a:gd name="connsiteX109" fmla="*/ 1283069 w 2163080"/>
                <a:gd name="connsiteY109" fmla="*/ 1063497 h 2082019"/>
                <a:gd name="connsiteX110" fmla="*/ 1283069 w 2163080"/>
                <a:gd name="connsiteY110" fmla="*/ 627216 h 2082019"/>
                <a:gd name="connsiteX111" fmla="*/ 1384635 w 2163080"/>
                <a:gd name="connsiteY111" fmla="*/ 473988 h 2082019"/>
                <a:gd name="connsiteX112" fmla="*/ 1437863 w 2163080"/>
                <a:gd name="connsiteY112" fmla="*/ 463242 h 2082019"/>
                <a:gd name="connsiteX113" fmla="*/ 1437863 w 2163080"/>
                <a:gd name="connsiteY113" fmla="*/ 331011 h 2082019"/>
                <a:gd name="connsiteX114" fmla="*/ 785279 w 2163080"/>
                <a:gd name="connsiteY114" fmla="*/ 331011 h 2082019"/>
                <a:gd name="connsiteX115" fmla="*/ 785279 w 2163080"/>
                <a:gd name="connsiteY115" fmla="*/ 1063497 h 2082019"/>
                <a:gd name="connsiteX116" fmla="*/ 843351 w 2163080"/>
                <a:gd name="connsiteY116" fmla="*/ 1063497 h 2082019"/>
                <a:gd name="connsiteX117" fmla="*/ 843351 w 2163080"/>
                <a:gd name="connsiteY117" fmla="*/ 627321 h 2082019"/>
                <a:gd name="connsiteX118" fmla="*/ 944917 w 2163080"/>
                <a:gd name="connsiteY118" fmla="*/ 474094 h 2082019"/>
                <a:gd name="connsiteX119" fmla="*/ 996379 w 2163080"/>
                <a:gd name="connsiteY119" fmla="*/ 463704 h 2082019"/>
                <a:gd name="connsiteX120" fmla="*/ 996379 w 2163080"/>
                <a:gd name="connsiteY120" fmla="*/ 331011 h 2082019"/>
                <a:gd name="connsiteX121" fmla="*/ 683756 w 2163080"/>
                <a:gd name="connsiteY121" fmla="*/ 0 h 2082019"/>
                <a:gd name="connsiteX122" fmla="*/ 785279 w 2163080"/>
                <a:gd name="connsiteY122" fmla="*/ 0 h 2082019"/>
                <a:gd name="connsiteX123" fmla="*/ 785279 w 2163080"/>
                <a:gd name="connsiteY123" fmla="*/ 1 h 2082019"/>
                <a:gd name="connsiteX124" fmla="*/ 785279 w 2163080"/>
                <a:gd name="connsiteY124" fmla="*/ 150699 h 2082019"/>
                <a:gd name="connsiteX125" fmla="*/ 785279 w 2163080"/>
                <a:gd name="connsiteY125" fmla="*/ 150703 h 2082019"/>
                <a:gd name="connsiteX126" fmla="*/ 785279 w 2163080"/>
                <a:gd name="connsiteY126" fmla="*/ 185573 h 2082019"/>
                <a:gd name="connsiteX127" fmla="*/ 785279 w 2163080"/>
                <a:gd name="connsiteY127" fmla="*/ 268612 h 2082019"/>
                <a:gd name="connsiteX128" fmla="*/ 1437863 w 2163080"/>
                <a:gd name="connsiteY128" fmla="*/ 268612 h 2082019"/>
                <a:gd name="connsiteX129" fmla="*/ 1437863 w 2163080"/>
                <a:gd name="connsiteY129" fmla="*/ 268180 h 2082019"/>
                <a:gd name="connsiteX130" fmla="*/ 1479462 w 2163080"/>
                <a:gd name="connsiteY130" fmla="*/ 268180 h 2082019"/>
                <a:gd name="connsiteX131" fmla="*/ 1479462 w 2163080"/>
                <a:gd name="connsiteY131" fmla="*/ 466997 h 2082019"/>
                <a:gd name="connsiteX132" fmla="*/ 1514095 w 2163080"/>
                <a:gd name="connsiteY132" fmla="*/ 473988 h 2082019"/>
                <a:gd name="connsiteX133" fmla="*/ 1608185 w 2163080"/>
                <a:gd name="connsiteY133" fmla="*/ 577765 h 2082019"/>
                <a:gd name="connsiteX134" fmla="*/ 1613636 w 2163080"/>
                <a:gd name="connsiteY134" fmla="*/ 613821 h 2082019"/>
                <a:gd name="connsiteX135" fmla="*/ 1615660 w 2163080"/>
                <a:gd name="connsiteY135" fmla="*/ 613821 h 2082019"/>
                <a:gd name="connsiteX136" fmla="*/ 1615660 w 2163080"/>
                <a:gd name="connsiteY136" fmla="*/ 627210 h 2082019"/>
                <a:gd name="connsiteX137" fmla="*/ 1615661 w 2163080"/>
                <a:gd name="connsiteY137" fmla="*/ 627216 h 2082019"/>
                <a:gd name="connsiteX138" fmla="*/ 1615660 w 2163080"/>
                <a:gd name="connsiteY138" fmla="*/ 1063497 h 2082019"/>
                <a:gd name="connsiteX139" fmla="*/ 2163080 w 2163080"/>
                <a:gd name="connsiteY139" fmla="*/ 1063497 h 2082019"/>
                <a:gd name="connsiteX140" fmla="*/ 2163080 w 2163080"/>
                <a:gd name="connsiteY140" fmla="*/ 1184656 h 2082019"/>
                <a:gd name="connsiteX141" fmla="*/ 2163080 w 2163080"/>
                <a:gd name="connsiteY141" fmla="*/ 1530190 h 2082019"/>
                <a:gd name="connsiteX142" fmla="*/ 2163080 w 2163080"/>
                <a:gd name="connsiteY142" fmla="*/ 2078653 h 2082019"/>
                <a:gd name="connsiteX143" fmla="*/ 2163080 w 2163080"/>
                <a:gd name="connsiteY143" fmla="*/ 2082019 h 2082019"/>
                <a:gd name="connsiteX144" fmla="*/ 499194 w 2163080"/>
                <a:gd name="connsiteY144" fmla="*/ 2082019 h 2082019"/>
                <a:gd name="connsiteX145" fmla="*/ 499105 w 2163080"/>
                <a:gd name="connsiteY145" fmla="*/ 2082019 h 2082019"/>
                <a:gd name="connsiteX146" fmla="*/ 421721 w 2163080"/>
                <a:gd name="connsiteY146" fmla="*/ 2082019 h 2082019"/>
                <a:gd name="connsiteX147" fmla="*/ 421721 w 2163080"/>
                <a:gd name="connsiteY147" fmla="*/ 1864776 h 2082019"/>
                <a:gd name="connsiteX148" fmla="*/ 327071 w 2163080"/>
                <a:gd name="connsiteY148" fmla="*/ 1864776 h 2082019"/>
                <a:gd name="connsiteX149" fmla="*/ 327071 w 2163080"/>
                <a:gd name="connsiteY149" fmla="*/ 2082019 h 2082019"/>
                <a:gd name="connsiteX150" fmla="*/ 249597 w 2163080"/>
                <a:gd name="connsiteY150" fmla="*/ 2082019 h 2082019"/>
                <a:gd name="connsiteX151" fmla="*/ 249597 w 2163080"/>
                <a:gd name="connsiteY151" fmla="*/ 2082018 h 2082019"/>
                <a:gd name="connsiteX152" fmla="*/ 163326 w 2163080"/>
                <a:gd name="connsiteY152" fmla="*/ 2082018 h 2082019"/>
                <a:gd name="connsiteX153" fmla="*/ 163326 w 2163080"/>
                <a:gd name="connsiteY153" fmla="*/ 1864776 h 2082019"/>
                <a:gd name="connsiteX154" fmla="*/ 68676 w 2163080"/>
                <a:gd name="connsiteY154" fmla="*/ 1864776 h 2082019"/>
                <a:gd name="connsiteX155" fmla="*/ 68676 w 2163080"/>
                <a:gd name="connsiteY155" fmla="*/ 2082018 h 2082019"/>
                <a:gd name="connsiteX156" fmla="*/ 0 w 2163080"/>
                <a:gd name="connsiteY156" fmla="*/ 2082018 h 2082019"/>
                <a:gd name="connsiteX157" fmla="*/ 0 w 2163080"/>
                <a:gd name="connsiteY157" fmla="*/ 1070653 h 2082019"/>
                <a:gd name="connsiteX158" fmla="*/ 0 w 2163080"/>
                <a:gd name="connsiteY158" fmla="*/ 957871 h 2082019"/>
                <a:gd name="connsiteX159" fmla="*/ 0 w 2163080"/>
                <a:gd name="connsiteY159" fmla="*/ 957207 h 2082019"/>
                <a:gd name="connsiteX160" fmla="*/ 91842 w 2163080"/>
                <a:gd name="connsiteY160" fmla="*/ 957207 h 2082019"/>
                <a:gd name="connsiteX161" fmla="*/ 91842 w 2163080"/>
                <a:gd name="connsiteY161" fmla="*/ 351653 h 2082019"/>
                <a:gd name="connsiteX162" fmla="*/ 91841 w 2163080"/>
                <a:gd name="connsiteY162" fmla="*/ 351653 h 2082019"/>
                <a:gd name="connsiteX163" fmla="*/ 91841 w 2163080"/>
                <a:gd name="connsiteY163" fmla="*/ 185571 h 2082019"/>
                <a:gd name="connsiteX164" fmla="*/ 237438 w 2163080"/>
                <a:gd name="connsiteY164" fmla="*/ 185571 h 2082019"/>
                <a:gd name="connsiteX165" fmla="*/ 383036 w 2163080"/>
                <a:gd name="connsiteY165" fmla="*/ 185571 h 2082019"/>
                <a:gd name="connsiteX166" fmla="*/ 383037 w 2163080"/>
                <a:gd name="connsiteY166" fmla="*/ 185571 h 2082019"/>
                <a:gd name="connsiteX167" fmla="*/ 383037 w 2163080"/>
                <a:gd name="connsiteY167" fmla="*/ 337527 h 2082019"/>
                <a:gd name="connsiteX168" fmla="*/ 383038 w 2163080"/>
                <a:gd name="connsiteY168" fmla="*/ 337527 h 2082019"/>
                <a:gd name="connsiteX169" fmla="*/ 383038 w 2163080"/>
                <a:gd name="connsiteY169" fmla="*/ 337530 h 2082019"/>
                <a:gd name="connsiteX170" fmla="*/ 383038 w 2163080"/>
                <a:gd name="connsiteY170" fmla="*/ 955499 h 2082019"/>
                <a:gd name="connsiteX171" fmla="*/ 499194 w 2163080"/>
                <a:gd name="connsiteY171" fmla="*/ 955499 h 2082019"/>
                <a:gd name="connsiteX172" fmla="*/ 499194 w 2163080"/>
                <a:gd name="connsiteY172" fmla="*/ 956944 h 2082019"/>
                <a:gd name="connsiteX173" fmla="*/ 499194 w 2163080"/>
                <a:gd name="connsiteY173" fmla="*/ 1063497 h 2082019"/>
                <a:gd name="connsiteX174" fmla="*/ 591966 w 2163080"/>
                <a:gd name="connsiteY174" fmla="*/ 1063497 h 2082019"/>
                <a:gd name="connsiteX175" fmla="*/ 591966 w 2163080"/>
                <a:gd name="connsiteY175" fmla="*/ 185573 h 2082019"/>
                <a:gd name="connsiteX176" fmla="*/ 591966 w 2163080"/>
                <a:gd name="connsiteY176" fmla="*/ 150703 h 2082019"/>
                <a:gd name="connsiteX177" fmla="*/ 591966 w 2163080"/>
                <a:gd name="connsiteY177" fmla="*/ 1 h 2082019"/>
                <a:gd name="connsiteX178" fmla="*/ 683756 w 2163080"/>
                <a:gd name="connsiteY178" fmla="*/ 1 h 208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</a:cxnLst>
              <a:rect l="l" t="t" r="r" b="b"/>
              <a:pathLst>
                <a:path w="2163080" h="2082019">
                  <a:moveTo>
                    <a:pt x="1708938" y="2004560"/>
                  </a:moveTo>
                  <a:lnTo>
                    <a:pt x="1708938" y="2044384"/>
                  </a:lnTo>
                  <a:lnTo>
                    <a:pt x="2059441" y="2044384"/>
                  </a:lnTo>
                  <a:lnTo>
                    <a:pt x="2059441" y="2004560"/>
                  </a:lnTo>
                  <a:close/>
                  <a:moveTo>
                    <a:pt x="1293406" y="2004560"/>
                  </a:moveTo>
                  <a:lnTo>
                    <a:pt x="1293406" y="2044384"/>
                  </a:lnTo>
                  <a:lnTo>
                    <a:pt x="1643909" y="2044384"/>
                  </a:lnTo>
                  <a:lnTo>
                    <a:pt x="1643909" y="2004560"/>
                  </a:lnTo>
                  <a:close/>
                  <a:moveTo>
                    <a:pt x="1708938" y="1943463"/>
                  </a:moveTo>
                  <a:lnTo>
                    <a:pt x="1708938" y="1983287"/>
                  </a:lnTo>
                  <a:lnTo>
                    <a:pt x="2059441" y="1983287"/>
                  </a:lnTo>
                  <a:lnTo>
                    <a:pt x="2059441" y="1943463"/>
                  </a:lnTo>
                  <a:close/>
                  <a:moveTo>
                    <a:pt x="1293406" y="1943463"/>
                  </a:moveTo>
                  <a:lnTo>
                    <a:pt x="1293406" y="1983287"/>
                  </a:lnTo>
                  <a:lnTo>
                    <a:pt x="1643909" y="1983287"/>
                  </a:lnTo>
                  <a:lnTo>
                    <a:pt x="1643909" y="1943463"/>
                  </a:lnTo>
                  <a:close/>
                  <a:moveTo>
                    <a:pt x="1708938" y="1882367"/>
                  </a:moveTo>
                  <a:lnTo>
                    <a:pt x="1708938" y="1922191"/>
                  </a:lnTo>
                  <a:lnTo>
                    <a:pt x="2059441" y="1922191"/>
                  </a:lnTo>
                  <a:lnTo>
                    <a:pt x="2059441" y="1882367"/>
                  </a:lnTo>
                  <a:close/>
                  <a:moveTo>
                    <a:pt x="1293406" y="1882367"/>
                  </a:moveTo>
                  <a:lnTo>
                    <a:pt x="1293406" y="1922191"/>
                  </a:lnTo>
                  <a:lnTo>
                    <a:pt x="1643909" y="1922191"/>
                  </a:lnTo>
                  <a:lnTo>
                    <a:pt x="1643909" y="1882367"/>
                  </a:lnTo>
                  <a:close/>
                  <a:moveTo>
                    <a:pt x="1024178" y="1873675"/>
                  </a:moveTo>
                  <a:lnTo>
                    <a:pt x="1024178" y="1939321"/>
                  </a:lnTo>
                  <a:lnTo>
                    <a:pt x="1122274" y="1939321"/>
                  </a:lnTo>
                  <a:lnTo>
                    <a:pt x="1122274" y="1873675"/>
                  </a:lnTo>
                  <a:close/>
                  <a:moveTo>
                    <a:pt x="840577" y="1873675"/>
                  </a:moveTo>
                  <a:lnTo>
                    <a:pt x="840577" y="1939321"/>
                  </a:lnTo>
                  <a:lnTo>
                    <a:pt x="938673" y="1939321"/>
                  </a:lnTo>
                  <a:lnTo>
                    <a:pt x="938673" y="1873675"/>
                  </a:lnTo>
                  <a:close/>
                  <a:moveTo>
                    <a:pt x="656977" y="1873675"/>
                  </a:moveTo>
                  <a:lnTo>
                    <a:pt x="656977" y="1939321"/>
                  </a:lnTo>
                  <a:lnTo>
                    <a:pt x="755073" y="1939321"/>
                  </a:lnTo>
                  <a:lnTo>
                    <a:pt x="755073" y="1873675"/>
                  </a:lnTo>
                  <a:close/>
                  <a:moveTo>
                    <a:pt x="1708938" y="1821270"/>
                  </a:moveTo>
                  <a:lnTo>
                    <a:pt x="1708938" y="1861094"/>
                  </a:lnTo>
                  <a:lnTo>
                    <a:pt x="2059441" y="1861094"/>
                  </a:lnTo>
                  <a:lnTo>
                    <a:pt x="2059441" y="1821270"/>
                  </a:lnTo>
                  <a:close/>
                  <a:moveTo>
                    <a:pt x="1293406" y="1821270"/>
                  </a:moveTo>
                  <a:lnTo>
                    <a:pt x="1293406" y="1861094"/>
                  </a:lnTo>
                  <a:lnTo>
                    <a:pt x="1643909" y="1861094"/>
                  </a:lnTo>
                  <a:lnTo>
                    <a:pt x="1643909" y="1821270"/>
                  </a:lnTo>
                  <a:close/>
                  <a:moveTo>
                    <a:pt x="1024178" y="1737466"/>
                  </a:moveTo>
                  <a:lnTo>
                    <a:pt x="1024178" y="1803112"/>
                  </a:lnTo>
                  <a:lnTo>
                    <a:pt x="1122274" y="1803112"/>
                  </a:lnTo>
                  <a:lnTo>
                    <a:pt x="1122274" y="1737466"/>
                  </a:lnTo>
                  <a:close/>
                  <a:moveTo>
                    <a:pt x="840577" y="1737466"/>
                  </a:moveTo>
                  <a:lnTo>
                    <a:pt x="840577" y="1803112"/>
                  </a:lnTo>
                  <a:lnTo>
                    <a:pt x="938673" y="1803112"/>
                  </a:lnTo>
                  <a:lnTo>
                    <a:pt x="938673" y="1737466"/>
                  </a:lnTo>
                  <a:close/>
                  <a:moveTo>
                    <a:pt x="656977" y="1737466"/>
                  </a:moveTo>
                  <a:lnTo>
                    <a:pt x="656977" y="1803112"/>
                  </a:lnTo>
                  <a:lnTo>
                    <a:pt x="755073" y="1803112"/>
                  </a:lnTo>
                  <a:lnTo>
                    <a:pt x="755073" y="1737466"/>
                  </a:lnTo>
                  <a:close/>
                  <a:moveTo>
                    <a:pt x="1024178" y="1601257"/>
                  </a:moveTo>
                  <a:lnTo>
                    <a:pt x="1024178" y="1666903"/>
                  </a:lnTo>
                  <a:lnTo>
                    <a:pt x="1122274" y="1666903"/>
                  </a:lnTo>
                  <a:lnTo>
                    <a:pt x="1122274" y="1601257"/>
                  </a:lnTo>
                  <a:close/>
                  <a:moveTo>
                    <a:pt x="840577" y="1601257"/>
                  </a:moveTo>
                  <a:lnTo>
                    <a:pt x="840577" y="1666903"/>
                  </a:lnTo>
                  <a:lnTo>
                    <a:pt x="938673" y="1666903"/>
                  </a:lnTo>
                  <a:lnTo>
                    <a:pt x="938673" y="1601257"/>
                  </a:lnTo>
                  <a:close/>
                  <a:moveTo>
                    <a:pt x="656977" y="1601257"/>
                  </a:moveTo>
                  <a:lnTo>
                    <a:pt x="656977" y="1666903"/>
                  </a:lnTo>
                  <a:lnTo>
                    <a:pt x="755073" y="1666903"/>
                  </a:lnTo>
                  <a:lnTo>
                    <a:pt x="755073" y="1601257"/>
                  </a:lnTo>
                  <a:close/>
                  <a:moveTo>
                    <a:pt x="1949811" y="1437108"/>
                  </a:moveTo>
                  <a:lnTo>
                    <a:pt x="1949811" y="1502754"/>
                  </a:lnTo>
                  <a:lnTo>
                    <a:pt x="2047907" y="1502754"/>
                  </a:lnTo>
                  <a:lnTo>
                    <a:pt x="2047907" y="1437108"/>
                  </a:lnTo>
                  <a:close/>
                  <a:moveTo>
                    <a:pt x="1766210" y="1437108"/>
                  </a:moveTo>
                  <a:lnTo>
                    <a:pt x="1766210" y="1502754"/>
                  </a:lnTo>
                  <a:lnTo>
                    <a:pt x="1864306" y="1502754"/>
                  </a:lnTo>
                  <a:lnTo>
                    <a:pt x="1864306" y="1437108"/>
                  </a:lnTo>
                  <a:close/>
                  <a:moveTo>
                    <a:pt x="1582610" y="1437108"/>
                  </a:moveTo>
                  <a:lnTo>
                    <a:pt x="1582610" y="1502754"/>
                  </a:lnTo>
                  <a:lnTo>
                    <a:pt x="1680706" y="1502754"/>
                  </a:lnTo>
                  <a:lnTo>
                    <a:pt x="1680706" y="1437108"/>
                  </a:lnTo>
                  <a:close/>
                  <a:moveTo>
                    <a:pt x="1386037" y="1437108"/>
                  </a:moveTo>
                  <a:lnTo>
                    <a:pt x="1386037" y="1502754"/>
                  </a:lnTo>
                  <a:lnTo>
                    <a:pt x="1484133" y="1502754"/>
                  </a:lnTo>
                  <a:lnTo>
                    <a:pt x="1484133" y="1437108"/>
                  </a:lnTo>
                  <a:close/>
                  <a:moveTo>
                    <a:pt x="1202437" y="1437108"/>
                  </a:moveTo>
                  <a:lnTo>
                    <a:pt x="1202437" y="1502754"/>
                  </a:lnTo>
                  <a:lnTo>
                    <a:pt x="1300533" y="1502754"/>
                  </a:lnTo>
                  <a:lnTo>
                    <a:pt x="1300533" y="1437108"/>
                  </a:lnTo>
                  <a:close/>
                  <a:moveTo>
                    <a:pt x="1024178" y="1437108"/>
                  </a:moveTo>
                  <a:lnTo>
                    <a:pt x="1024178" y="1502754"/>
                  </a:lnTo>
                  <a:lnTo>
                    <a:pt x="1122274" y="1502754"/>
                  </a:lnTo>
                  <a:lnTo>
                    <a:pt x="1122274" y="1437108"/>
                  </a:lnTo>
                  <a:close/>
                  <a:moveTo>
                    <a:pt x="840577" y="1437108"/>
                  </a:moveTo>
                  <a:lnTo>
                    <a:pt x="840577" y="1502754"/>
                  </a:lnTo>
                  <a:lnTo>
                    <a:pt x="938673" y="1502754"/>
                  </a:lnTo>
                  <a:lnTo>
                    <a:pt x="938673" y="1437108"/>
                  </a:lnTo>
                  <a:close/>
                  <a:moveTo>
                    <a:pt x="656977" y="1437108"/>
                  </a:moveTo>
                  <a:lnTo>
                    <a:pt x="656977" y="1502754"/>
                  </a:lnTo>
                  <a:lnTo>
                    <a:pt x="755073" y="1502754"/>
                  </a:lnTo>
                  <a:lnTo>
                    <a:pt x="755073" y="1437108"/>
                  </a:lnTo>
                  <a:close/>
                  <a:moveTo>
                    <a:pt x="1037978" y="331011"/>
                  </a:moveTo>
                  <a:lnTo>
                    <a:pt x="1037978" y="465308"/>
                  </a:lnTo>
                  <a:lnTo>
                    <a:pt x="1059098" y="468502"/>
                  </a:lnTo>
                  <a:cubicBezTo>
                    <a:pt x="1105963" y="483078"/>
                    <a:pt x="1143941" y="517827"/>
                    <a:pt x="1162875" y="562591"/>
                  </a:cubicBezTo>
                  <a:lnTo>
                    <a:pt x="1173239" y="613926"/>
                  </a:lnTo>
                  <a:lnTo>
                    <a:pt x="1175942" y="613926"/>
                  </a:lnTo>
                  <a:lnTo>
                    <a:pt x="1175942" y="627317"/>
                  </a:lnTo>
                  <a:lnTo>
                    <a:pt x="1175943" y="627321"/>
                  </a:lnTo>
                  <a:lnTo>
                    <a:pt x="1175942" y="1063497"/>
                  </a:lnTo>
                  <a:lnTo>
                    <a:pt x="1283069" y="1063497"/>
                  </a:lnTo>
                  <a:lnTo>
                    <a:pt x="1283069" y="627216"/>
                  </a:lnTo>
                  <a:cubicBezTo>
                    <a:pt x="1283069" y="558334"/>
                    <a:pt x="1324949" y="499233"/>
                    <a:pt x="1384635" y="473988"/>
                  </a:cubicBezTo>
                  <a:lnTo>
                    <a:pt x="1437863" y="463242"/>
                  </a:lnTo>
                  <a:lnTo>
                    <a:pt x="1437863" y="331011"/>
                  </a:lnTo>
                  <a:close/>
                  <a:moveTo>
                    <a:pt x="785279" y="331011"/>
                  </a:moveTo>
                  <a:lnTo>
                    <a:pt x="785279" y="1063497"/>
                  </a:lnTo>
                  <a:lnTo>
                    <a:pt x="843351" y="1063497"/>
                  </a:lnTo>
                  <a:lnTo>
                    <a:pt x="843351" y="627321"/>
                  </a:lnTo>
                  <a:cubicBezTo>
                    <a:pt x="843351" y="558439"/>
                    <a:pt x="885231" y="499339"/>
                    <a:pt x="944917" y="474094"/>
                  </a:cubicBezTo>
                  <a:lnTo>
                    <a:pt x="996379" y="463704"/>
                  </a:lnTo>
                  <a:lnTo>
                    <a:pt x="996379" y="331011"/>
                  </a:lnTo>
                  <a:close/>
                  <a:moveTo>
                    <a:pt x="683756" y="0"/>
                  </a:moveTo>
                  <a:lnTo>
                    <a:pt x="785279" y="0"/>
                  </a:lnTo>
                  <a:lnTo>
                    <a:pt x="785279" y="1"/>
                  </a:lnTo>
                  <a:lnTo>
                    <a:pt x="785279" y="150699"/>
                  </a:lnTo>
                  <a:lnTo>
                    <a:pt x="785279" y="150703"/>
                  </a:lnTo>
                  <a:lnTo>
                    <a:pt x="785279" y="185573"/>
                  </a:lnTo>
                  <a:lnTo>
                    <a:pt x="785279" y="268612"/>
                  </a:lnTo>
                  <a:lnTo>
                    <a:pt x="1437863" y="268612"/>
                  </a:lnTo>
                  <a:lnTo>
                    <a:pt x="1437863" y="268180"/>
                  </a:lnTo>
                  <a:lnTo>
                    <a:pt x="1479462" y="268180"/>
                  </a:lnTo>
                  <a:lnTo>
                    <a:pt x="1479462" y="466997"/>
                  </a:lnTo>
                  <a:lnTo>
                    <a:pt x="1514095" y="473988"/>
                  </a:lnTo>
                  <a:cubicBezTo>
                    <a:pt x="1558860" y="492922"/>
                    <a:pt x="1593608" y="530900"/>
                    <a:pt x="1608185" y="577765"/>
                  </a:cubicBezTo>
                  <a:lnTo>
                    <a:pt x="1613636" y="613821"/>
                  </a:lnTo>
                  <a:lnTo>
                    <a:pt x="1615660" y="613821"/>
                  </a:lnTo>
                  <a:lnTo>
                    <a:pt x="1615660" y="627210"/>
                  </a:lnTo>
                  <a:lnTo>
                    <a:pt x="1615661" y="627216"/>
                  </a:lnTo>
                  <a:lnTo>
                    <a:pt x="1615660" y="1063497"/>
                  </a:lnTo>
                  <a:lnTo>
                    <a:pt x="2163080" y="1063497"/>
                  </a:lnTo>
                  <a:lnTo>
                    <a:pt x="2163080" y="1184656"/>
                  </a:lnTo>
                  <a:lnTo>
                    <a:pt x="2163080" y="1530190"/>
                  </a:lnTo>
                  <a:lnTo>
                    <a:pt x="2163080" y="2078653"/>
                  </a:lnTo>
                  <a:lnTo>
                    <a:pt x="2163080" y="2082019"/>
                  </a:lnTo>
                  <a:lnTo>
                    <a:pt x="499194" y="2082019"/>
                  </a:lnTo>
                  <a:lnTo>
                    <a:pt x="499105" y="2082019"/>
                  </a:lnTo>
                  <a:lnTo>
                    <a:pt x="421721" y="2082019"/>
                  </a:lnTo>
                  <a:lnTo>
                    <a:pt x="421721" y="1864776"/>
                  </a:lnTo>
                  <a:lnTo>
                    <a:pt x="327071" y="1864776"/>
                  </a:lnTo>
                  <a:lnTo>
                    <a:pt x="327071" y="2082019"/>
                  </a:lnTo>
                  <a:lnTo>
                    <a:pt x="249597" y="2082019"/>
                  </a:lnTo>
                  <a:lnTo>
                    <a:pt x="249597" y="2082018"/>
                  </a:lnTo>
                  <a:lnTo>
                    <a:pt x="163326" y="2082018"/>
                  </a:lnTo>
                  <a:lnTo>
                    <a:pt x="163326" y="1864776"/>
                  </a:lnTo>
                  <a:lnTo>
                    <a:pt x="68676" y="1864776"/>
                  </a:lnTo>
                  <a:lnTo>
                    <a:pt x="68676" y="2082018"/>
                  </a:lnTo>
                  <a:lnTo>
                    <a:pt x="0" y="2082018"/>
                  </a:lnTo>
                  <a:lnTo>
                    <a:pt x="0" y="1070653"/>
                  </a:lnTo>
                  <a:lnTo>
                    <a:pt x="0" y="957871"/>
                  </a:lnTo>
                  <a:lnTo>
                    <a:pt x="0" y="957207"/>
                  </a:lnTo>
                  <a:lnTo>
                    <a:pt x="91842" y="957207"/>
                  </a:lnTo>
                  <a:lnTo>
                    <a:pt x="91842" y="351653"/>
                  </a:lnTo>
                  <a:lnTo>
                    <a:pt x="91841" y="351653"/>
                  </a:lnTo>
                  <a:lnTo>
                    <a:pt x="91841" y="185571"/>
                  </a:lnTo>
                  <a:lnTo>
                    <a:pt x="237438" y="185571"/>
                  </a:lnTo>
                  <a:lnTo>
                    <a:pt x="383036" y="185571"/>
                  </a:lnTo>
                  <a:lnTo>
                    <a:pt x="383037" y="185571"/>
                  </a:lnTo>
                  <a:lnTo>
                    <a:pt x="383037" y="337527"/>
                  </a:lnTo>
                  <a:lnTo>
                    <a:pt x="383038" y="337527"/>
                  </a:lnTo>
                  <a:lnTo>
                    <a:pt x="383038" y="337530"/>
                  </a:lnTo>
                  <a:lnTo>
                    <a:pt x="383038" y="955499"/>
                  </a:lnTo>
                  <a:lnTo>
                    <a:pt x="499194" y="955499"/>
                  </a:lnTo>
                  <a:lnTo>
                    <a:pt x="499194" y="956944"/>
                  </a:lnTo>
                  <a:lnTo>
                    <a:pt x="499194" y="1063497"/>
                  </a:lnTo>
                  <a:lnTo>
                    <a:pt x="591966" y="1063497"/>
                  </a:lnTo>
                  <a:lnTo>
                    <a:pt x="591966" y="185573"/>
                  </a:lnTo>
                  <a:lnTo>
                    <a:pt x="591966" y="150703"/>
                  </a:lnTo>
                  <a:lnTo>
                    <a:pt x="591966" y="1"/>
                  </a:lnTo>
                  <a:lnTo>
                    <a:pt x="683756" y="1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Graphic 12">
              <a:extLst>
                <a:ext uri="{FF2B5EF4-FFF2-40B4-BE49-F238E27FC236}">
                  <a16:creationId xmlns:a16="http://schemas.microsoft.com/office/drawing/2014/main" id="{690C1900-86DA-4F62-B834-0EA09B83521E}"/>
                </a:ext>
              </a:extLst>
            </p:cNvPr>
            <p:cNvSpPr/>
            <p:nvPr/>
          </p:nvSpPr>
          <p:spPr>
            <a:xfrm>
              <a:off x="8006387" y="2575110"/>
              <a:ext cx="629297" cy="357806"/>
            </a:xfrm>
            <a:custGeom>
              <a:avLst/>
              <a:gdLst>
                <a:gd name="connsiteX0" fmla="*/ 11922847 w 11944350"/>
                <a:gd name="connsiteY0" fmla="*/ 958396 h 6791325"/>
                <a:gd name="connsiteX1" fmla="*/ 9884497 w 11944350"/>
                <a:gd name="connsiteY1" fmla="*/ 6848 h 6791325"/>
                <a:gd name="connsiteX2" fmla="*/ 6293573 w 11944350"/>
                <a:gd name="connsiteY2" fmla="*/ 1401308 h 6791325"/>
                <a:gd name="connsiteX3" fmla="*/ 1673948 w 11944350"/>
                <a:gd name="connsiteY3" fmla="*/ 996496 h 6791325"/>
                <a:gd name="connsiteX4" fmla="*/ 1488210 w 11944350"/>
                <a:gd name="connsiteY4" fmla="*/ 2358571 h 6791325"/>
                <a:gd name="connsiteX5" fmla="*/ 1841588 w 11944350"/>
                <a:gd name="connsiteY5" fmla="*/ 3539671 h 6791325"/>
                <a:gd name="connsiteX6" fmla="*/ 155663 w 11944350"/>
                <a:gd name="connsiteY6" fmla="*/ 4530271 h 6791325"/>
                <a:gd name="connsiteX7" fmla="*/ 1294853 w 11944350"/>
                <a:gd name="connsiteY7" fmla="*/ 6156188 h 6791325"/>
                <a:gd name="connsiteX8" fmla="*/ 1816823 w 11944350"/>
                <a:gd name="connsiteY8" fmla="*/ 6426699 h 6791325"/>
                <a:gd name="connsiteX9" fmla="*/ 2181630 w 11944350"/>
                <a:gd name="connsiteY9" fmla="*/ 6753406 h 6791325"/>
                <a:gd name="connsiteX10" fmla="*/ 2930295 w 11944350"/>
                <a:gd name="connsiteY10" fmla="*/ 6784838 h 6791325"/>
                <a:gd name="connsiteX11" fmla="*/ 2451188 w 11944350"/>
                <a:gd name="connsiteY11" fmla="*/ 6126661 h 6791325"/>
                <a:gd name="connsiteX12" fmla="*/ 2352128 w 11944350"/>
                <a:gd name="connsiteY12" fmla="*/ 5419906 h 6791325"/>
                <a:gd name="connsiteX13" fmla="*/ 3638003 w 11944350"/>
                <a:gd name="connsiteY13" fmla="*/ 4676003 h 6791325"/>
                <a:gd name="connsiteX14" fmla="*/ 3425595 w 11944350"/>
                <a:gd name="connsiteY14" fmla="*/ 3607298 h 6791325"/>
                <a:gd name="connsiteX15" fmla="*/ 5353456 w 11944350"/>
                <a:gd name="connsiteY15" fmla="*/ 3782558 h 6791325"/>
                <a:gd name="connsiteX16" fmla="*/ 7006995 w 11944350"/>
                <a:gd name="connsiteY16" fmla="*/ 3392986 h 6791325"/>
                <a:gd name="connsiteX17" fmla="*/ 8492895 w 11944350"/>
                <a:gd name="connsiteY17" fmla="*/ 2407148 h 6791325"/>
                <a:gd name="connsiteX18" fmla="*/ 10588395 w 11944350"/>
                <a:gd name="connsiteY18" fmla="*/ 2607173 h 6791325"/>
                <a:gd name="connsiteX19" fmla="*/ 11922847 w 11944350"/>
                <a:gd name="connsiteY19" fmla="*/ 958396 h 6791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944350" h="6791325">
                  <a:moveTo>
                    <a:pt x="11922847" y="958396"/>
                  </a:moveTo>
                  <a:cubicBezTo>
                    <a:pt x="11710441" y="147818"/>
                    <a:pt x="10620780" y="-40777"/>
                    <a:pt x="9884497" y="6848"/>
                  </a:cubicBezTo>
                  <a:cubicBezTo>
                    <a:pt x="8818650" y="76381"/>
                    <a:pt x="7229881" y="1044121"/>
                    <a:pt x="6293573" y="1401308"/>
                  </a:cubicBezTo>
                  <a:cubicBezTo>
                    <a:pt x="4570501" y="2059486"/>
                    <a:pt x="3269385" y="-370342"/>
                    <a:pt x="1673948" y="996496"/>
                  </a:cubicBezTo>
                  <a:cubicBezTo>
                    <a:pt x="1366290" y="1260338"/>
                    <a:pt x="1319618" y="1964236"/>
                    <a:pt x="1488210" y="2358571"/>
                  </a:cubicBezTo>
                  <a:cubicBezTo>
                    <a:pt x="1616798" y="2657656"/>
                    <a:pt x="1783485" y="3209153"/>
                    <a:pt x="1841588" y="3539671"/>
                  </a:cubicBezTo>
                  <a:cubicBezTo>
                    <a:pt x="1971128" y="4275953"/>
                    <a:pt x="487133" y="3938768"/>
                    <a:pt x="155663" y="4530271"/>
                  </a:cubicBezTo>
                  <a:cubicBezTo>
                    <a:pt x="-386310" y="5498011"/>
                    <a:pt x="607148" y="5906633"/>
                    <a:pt x="1294853" y="6156188"/>
                  </a:cubicBezTo>
                  <a:cubicBezTo>
                    <a:pt x="1482495" y="6223816"/>
                    <a:pt x="1677758" y="6279061"/>
                    <a:pt x="1816823" y="6426699"/>
                  </a:cubicBezTo>
                  <a:cubicBezTo>
                    <a:pt x="1829205" y="6440033"/>
                    <a:pt x="2205443" y="6767693"/>
                    <a:pt x="2181630" y="6753406"/>
                  </a:cubicBezTo>
                  <a:cubicBezTo>
                    <a:pt x="2294025" y="6823891"/>
                    <a:pt x="2802660" y="6784838"/>
                    <a:pt x="2930295" y="6784838"/>
                  </a:cubicBezTo>
                  <a:cubicBezTo>
                    <a:pt x="2831235" y="6709591"/>
                    <a:pt x="2550248" y="6259058"/>
                    <a:pt x="2451188" y="6126661"/>
                  </a:cubicBezTo>
                  <a:cubicBezTo>
                    <a:pt x="2279738" y="5898061"/>
                    <a:pt x="2165438" y="5698036"/>
                    <a:pt x="2352128" y="5419906"/>
                  </a:cubicBezTo>
                  <a:cubicBezTo>
                    <a:pt x="2632163" y="5002711"/>
                    <a:pt x="3646575" y="5310368"/>
                    <a:pt x="3638003" y="4676003"/>
                  </a:cubicBezTo>
                  <a:cubicBezTo>
                    <a:pt x="3631335" y="4198801"/>
                    <a:pt x="2949345" y="4121648"/>
                    <a:pt x="3425595" y="3607298"/>
                  </a:cubicBezTo>
                  <a:cubicBezTo>
                    <a:pt x="3972330" y="3016748"/>
                    <a:pt x="4710518" y="3607298"/>
                    <a:pt x="5353456" y="3782558"/>
                  </a:cubicBezTo>
                  <a:cubicBezTo>
                    <a:pt x="5906858" y="3934006"/>
                    <a:pt x="6559320" y="3850186"/>
                    <a:pt x="7006995" y="3392986"/>
                  </a:cubicBezTo>
                  <a:cubicBezTo>
                    <a:pt x="7565160" y="2821486"/>
                    <a:pt x="7475626" y="2466203"/>
                    <a:pt x="8492895" y="2407148"/>
                  </a:cubicBezTo>
                  <a:cubicBezTo>
                    <a:pt x="9212985" y="2365238"/>
                    <a:pt x="9866400" y="2736713"/>
                    <a:pt x="10588395" y="2607173"/>
                  </a:cubicBezTo>
                  <a:cubicBezTo>
                    <a:pt x="11225618" y="2491921"/>
                    <a:pt x="12105728" y="1653721"/>
                    <a:pt x="11922847" y="95839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1CBD6DE4-0B5B-43A4-BD5F-907542D92685}"/>
              </a:ext>
            </a:extLst>
          </p:cNvPr>
          <p:cNvGrpSpPr/>
          <p:nvPr/>
        </p:nvGrpSpPr>
        <p:grpSpPr>
          <a:xfrm>
            <a:off x="8110037" y="3697637"/>
            <a:ext cx="4156537" cy="1963806"/>
            <a:chOff x="4841043" y="1257438"/>
            <a:chExt cx="1574762" cy="1963806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C583D87C-5FD5-4E6A-B665-A126EC0D1211}"/>
                </a:ext>
              </a:extLst>
            </p:cNvPr>
            <p:cNvSpPr/>
            <p:nvPr/>
          </p:nvSpPr>
          <p:spPr>
            <a:xfrm>
              <a:off x="4992703" y="1897805"/>
              <a:ext cx="1340603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Sektor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Pekerjaan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Umum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Dan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Perumahan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Rakyat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Subsektor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Jasa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Konstruksi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termasuk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dalam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kegiatan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usaha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dengan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tingkat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Risiko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menengah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tinggi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.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259C41DC-32FC-4D95-94B9-8B4DE7FA148E}"/>
                </a:ext>
              </a:extLst>
            </p:cNvPr>
            <p:cNvSpPr txBox="1"/>
            <p:nvPr/>
          </p:nvSpPr>
          <p:spPr>
            <a:xfrm>
              <a:off x="4841043" y="1257438"/>
              <a:ext cx="1574762" cy="83099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Lampiran I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PP No. 05 </a:t>
              </a: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Tahun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202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맑은 고딕" panose="020B0503020000020004" pitchFamily="34" charset="-127"/>
                <a:cs typeface="Arial" pitchFamily="34" charset="0"/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8D0452B-0EEF-4738-8CCB-B93EC3FD0F37}"/>
              </a:ext>
            </a:extLst>
          </p:cNvPr>
          <p:cNvGrpSpPr/>
          <p:nvPr/>
        </p:nvGrpSpPr>
        <p:grpSpPr>
          <a:xfrm>
            <a:off x="220722" y="3678497"/>
            <a:ext cx="4401879" cy="2195239"/>
            <a:chOff x="4684383" y="1539289"/>
            <a:chExt cx="1725794" cy="2195239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A2B1A6CD-5624-4317-8AC9-D42790EDE117}"/>
                </a:ext>
              </a:extLst>
            </p:cNvPr>
            <p:cNvSpPr/>
            <p:nvPr/>
          </p:nvSpPr>
          <p:spPr>
            <a:xfrm>
              <a:off x="4727002" y="2164868"/>
              <a:ext cx="1683175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Perizinan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Berusaha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untuk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kegiatan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usaha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dengan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tingkat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Risiko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menengah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tinggi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sebagaimana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dimaksud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dalam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Pasal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10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ayat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(2)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huruf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b </a:t>
              </a:r>
              <a:r>
                <a:rPr kumimoji="0" lang="en-US" altLang="ko-K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berupa</a:t>
              </a:r>
              <a:r>
                <a:rPr kumimoji="0" lang="en-US" altLang="ko-K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:</a:t>
              </a:r>
            </a:p>
            <a:p>
              <a:pPr marL="457200" marR="0" lvl="0" indent="-45720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lphaLcPeriod"/>
                <a:tabLst/>
                <a:defRPr/>
              </a:pP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NIB; dan</a:t>
              </a:r>
            </a:p>
            <a:p>
              <a:pPr marL="457200" marR="0" lvl="0" indent="-45720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lphaLcPeriod"/>
                <a:tabLst/>
                <a:defRPr/>
              </a:pP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Sertifikat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</a:t>
              </a: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Standar</a:t>
              </a:r>
              <a:endPara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ea typeface="맑은 고딕" panose="020B0503020000020004" pitchFamily="34" charset="-127"/>
                <a:cs typeface="Arial" pitchFamily="34" charset="0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F7E3023C-ED70-48DB-97A7-6ECF6E69F351}"/>
                </a:ext>
              </a:extLst>
            </p:cNvPr>
            <p:cNvSpPr txBox="1"/>
            <p:nvPr/>
          </p:nvSpPr>
          <p:spPr>
            <a:xfrm>
              <a:off x="4684383" y="1539289"/>
              <a:ext cx="1600607" cy="58477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PP No. 05 </a:t>
              </a: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Tahun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202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Pasal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14 </a:t>
              </a:r>
              <a:r>
                <a:rPr kumimoji="0" lang="en-US" altLang="ko-KR" sz="16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ayat</a:t>
              </a:r>
              <a:r>
                <a:rPr kumimoji="0" lang="en-US" altLang="ko-KR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DM Sans" pitchFamily="2" charset="77"/>
                  <a:ea typeface="맑은 고딕" panose="020B0503020000020004" pitchFamily="34" charset="-127"/>
                  <a:cs typeface="Arial" pitchFamily="34" charset="0"/>
                </a:rPr>
                <a:t> 1 </a:t>
              </a:r>
              <a:endParaRPr kumimoji="0" lang="ko-KR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맑은 고딕" panose="020B0503020000020004" pitchFamily="34" charset="-127"/>
                <a:cs typeface="Arial" pitchFamily="34" charset="0"/>
              </a:endParaRPr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13C0630B-3557-4676-AE73-9FEAF835C664}"/>
              </a:ext>
            </a:extLst>
          </p:cNvPr>
          <p:cNvSpPr txBox="1"/>
          <p:nvPr/>
        </p:nvSpPr>
        <p:spPr>
          <a:xfrm>
            <a:off x="4679356" y="3722451"/>
            <a:ext cx="3812397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맑은 고딕" panose="020B0503020000020004" pitchFamily="34" charset="-127"/>
                <a:cs typeface="Arial" pitchFamily="34" charset="0"/>
              </a:rPr>
              <a:t>PP No. 05 </a:t>
            </a:r>
            <a:r>
              <a:rPr kumimoji="0" lang="en-US" altLang="ko-KR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DM Sans" pitchFamily="2" charset="77"/>
                <a:ea typeface="맑은 고딕" panose="020B0503020000020004" pitchFamily="34" charset="-127"/>
                <a:cs typeface="Arial" pitchFamily="34" charset="0"/>
              </a:rPr>
              <a:t>Tahun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맑은 고딕" panose="020B0503020000020004" pitchFamily="34" charset="-127"/>
                <a:cs typeface="Arial" pitchFamily="34" charset="0"/>
              </a:rPr>
              <a:t>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DM Sans" pitchFamily="2" charset="77"/>
                <a:ea typeface="맑은 고딕" panose="020B0503020000020004" pitchFamily="34" charset="-127"/>
                <a:cs typeface="Arial" pitchFamily="34" charset="0"/>
              </a:rPr>
              <a:t>Pasal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DM Sans" pitchFamily="2" charset="77"/>
                <a:ea typeface="맑은 고딕" panose="020B0503020000020004" pitchFamily="34" charset="-127"/>
                <a:cs typeface="Arial" pitchFamily="34" charset="0"/>
              </a:rPr>
              <a:t> 99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DM Sans" pitchFamily="2" charset="77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96A1338-A052-4811-BFD1-E379925528A7}"/>
              </a:ext>
            </a:extLst>
          </p:cNvPr>
          <p:cNvSpPr/>
          <p:nvPr/>
        </p:nvSpPr>
        <p:spPr>
          <a:xfrm>
            <a:off x="4956388" y="4338004"/>
            <a:ext cx="318390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cs typeface="Arial" panose="020B0604020202020204" pitchFamily="34" charset="0"/>
              </a:rPr>
              <a:t>Sertifikat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cs typeface="Arial" panose="020B0604020202020204" pitchFamily="34" charset="0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cs typeface="Arial" panose="020B0604020202020204" pitchFamily="34" charset="0"/>
              </a:rPr>
              <a:t>Standar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cs typeface="Arial" panose="020B0604020202020204" pitchFamily="34" charset="0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cs typeface="Arial" panose="020B0604020202020204" pitchFamily="34" charset="0"/>
              </a:rPr>
              <a:t>Perizin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cs typeface="Arial" panose="020B0604020202020204" pitchFamily="34" charset="0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cs typeface="Arial" panose="020B0604020202020204" pitchFamily="34" charset="0"/>
              </a:rPr>
              <a:t>Berusaha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cs typeface="Arial" panose="020B0604020202020204" pitchFamily="34" charset="0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cs typeface="Arial" panose="020B0604020202020204" pitchFamily="34" charset="0"/>
              </a:rPr>
              <a:t>subsektor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cs typeface="Arial" panose="020B0604020202020204" pitchFamily="34" charset="0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cs typeface="Arial" panose="020B0604020202020204" pitchFamily="34" charset="0"/>
              </a:rPr>
              <a:t>jasa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cs typeface="Arial" panose="020B0604020202020204" pitchFamily="34" charset="0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cs typeface="Arial" panose="020B0604020202020204" pitchFamily="34" charset="0"/>
              </a:rPr>
              <a:t>konstruksi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cs typeface="Arial" panose="020B0604020202020204" pitchFamily="34" charset="0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cs typeface="Arial" panose="020B0604020202020204" pitchFamily="34" charset="0"/>
              </a:rPr>
              <a:t>meliputi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  <a:cs typeface="Arial" panose="020B0604020202020204" pitchFamily="34" charset="0"/>
              </a:rPr>
              <a:t>:</a:t>
            </a: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DM Sans" pitchFamily="2" charset="77"/>
              <a:ea typeface="맑은 고딕" panose="020B0503020000020004" pitchFamily="34" charset="-127"/>
              <a:cs typeface="Arial" panose="020B0604020202020204" pitchFamily="34" charset="0"/>
            </a:endParaRPr>
          </a:p>
          <a:p>
            <a:pPr marL="457200" marR="0" lvl="0" indent="-4572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ea typeface="맑은 고딕" panose="020B0503020000020004" pitchFamily="34" charset="-127"/>
                <a:cs typeface="Arial" pitchFamily="34" charset="0"/>
              </a:rPr>
              <a:t>SBU </a:t>
            </a:r>
            <a:r>
              <a:rPr kumimoji="0" lang="en-US" altLang="ko-KR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ea typeface="맑은 고딕" panose="020B0503020000020004" pitchFamily="34" charset="-127"/>
                <a:cs typeface="Arial" pitchFamily="34" charset="0"/>
              </a:rPr>
              <a:t>Konstruksi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M Sans" pitchFamily="2" charset="77"/>
              <a:ea typeface="맑은 고딕" panose="020B0503020000020004" pitchFamily="34" charset="-127"/>
              <a:cs typeface="Arial" pitchFamily="34" charset="0"/>
            </a:endParaRPr>
          </a:p>
          <a:p>
            <a:pPr marL="457200" marR="0" lvl="0" indent="-4572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ea typeface="맑은 고딕" panose="020B0503020000020004" pitchFamily="34" charset="-127"/>
                <a:cs typeface="Arial" pitchFamily="34" charset="0"/>
              </a:rPr>
              <a:t>SKK </a:t>
            </a:r>
            <a:r>
              <a:rPr kumimoji="0" lang="en-US" altLang="ko-KR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ea typeface="맑은 고딕" panose="020B0503020000020004" pitchFamily="34" charset="-127"/>
                <a:cs typeface="Arial" pitchFamily="34" charset="0"/>
              </a:rPr>
              <a:t>Konstruksi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ea typeface="맑은 고딕" panose="020B0503020000020004" pitchFamily="34" charset="-127"/>
                <a:cs typeface="Arial" pitchFamily="34" charset="0"/>
              </a:rPr>
              <a:t>; dan</a:t>
            </a:r>
          </a:p>
          <a:p>
            <a:pPr marL="457200" marR="0" lvl="0" indent="-4572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eriod"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DM Sans" pitchFamily="2" charset="77"/>
                <a:ea typeface="맑은 고딕" panose="020B0503020000020004" pitchFamily="34" charset="-127"/>
                <a:cs typeface="Arial" pitchFamily="34" charset="0"/>
              </a:rPr>
              <a:t>Lisensi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DM Sans" pitchFamily="2" charset="77"/>
              <a:ea typeface="맑은 고딕" panose="020B0503020000020004" pitchFamily="34" charset="-127"/>
              <a:cs typeface="Arial" pitchFamily="34" charset="0"/>
            </a:endParaRPr>
          </a:p>
        </p:txBody>
      </p:sp>
      <p:pic>
        <p:nvPicPr>
          <p:cNvPr id="17" name="Picture 16" descr="lgo sigap.png">
            <a:extLst>
              <a:ext uri="{FF2B5EF4-FFF2-40B4-BE49-F238E27FC236}">
                <a16:creationId xmlns:a16="http://schemas.microsoft.com/office/drawing/2014/main" id="{486B2862-2AF0-8276-ADED-A048C3CC23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18" name="Round Same Side Corner Rectangle 1">
            <a:extLst>
              <a:ext uri="{FF2B5EF4-FFF2-40B4-BE49-F238E27FC236}">
                <a16:creationId xmlns:a16="http://schemas.microsoft.com/office/drawing/2014/main" id="{7D3F532E-736A-1E08-0297-197282003DEC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38EABC3C-42D7-8A27-B0B8-D3C44AAF25F4}"/>
              </a:ext>
            </a:extLst>
          </p:cNvPr>
          <p:cNvSpPr txBox="1">
            <a:spLocks/>
          </p:cNvSpPr>
          <p:nvPr/>
        </p:nvSpPr>
        <p:spPr>
          <a:xfrm>
            <a:off x="318804" y="169194"/>
            <a:ext cx="867105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000" b="1" dirty="0">
                <a:solidFill>
                  <a:prstClr val="black"/>
                </a:solidFill>
                <a:latin typeface="Segoe UI"/>
              </a:rPr>
              <a:t>PERIZINAN BERUSAHA BERBASIS RESIKO SEKTOR PEKERJAAN UMUM DAN PERUMAHAN RAKYAT SUBSEKTOR JASA KONSTRUKSI</a:t>
            </a:r>
          </a:p>
          <a:p>
            <a:pPr>
              <a:lnSpc>
                <a:spcPct val="100000"/>
              </a:lnSpc>
              <a:defRPr/>
            </a:pPr>
            <a:endParaRPr lang="fi-FI" sz="2000" b="1" dirty="0">
              <a:solidFill>
                <a:prstClr val="black"/>
              </a:solidFill>
              <a:latin typeface="Segoe UI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4BCDEF8-8DD8-71CC-D7C5-158D49E377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AFB4DBC4-A864-9098-460B-F55822D10F46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F82674B1-F26F-4C5D-89CA-74502381A0E8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90A9F8CE-0352-BB3C-44EC-4D18E7A65C93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BAA833AF-860D-190D-8C63-8A4E42B2AE0B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05B5435-1D97-6E11-09DC-7D7B86CACF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25224166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6DE09EE9-D753-1E61-C18F-E9FD174AA58C}"/>
              </a:ext>
            </a:extLst>
          </p:cNvPr>
          <p:cNvSpPr/>
          <p:nvPr/>
        </p:nvSpPr>
        <p:spPr>
          <a:xfrm>
            <a:off x="359379" y="1209557"/>
            <a:ext cx="8792185" cy="761163"/>
          </a:xfrm>
          <a:prstGeom prst="snip2DiagRect">
            <a:avLst/>
          </a:prstGeom>
          <a:solidFill>
            <a:srgbClr val="F7B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2733" name="Google Shape;2733;p31"/>
          <p:cNvGrpSpPr/>
          <p:nvPr/>
        </p:nvGrpSpPr>
        <p:grpSpPr>
          <a:xfrm>
            <a:off x="176914" y="2493439"/>
            <a:ext cx="4222286" cy="3275726"/>
            <a:chOff x="637925" y="2036075"/>
            <a:chExt cx="2981675" cy="2104400"/>
          </a:xfrm>
        </p:grpSpPr>
        <p:sp>
          <p:nvSpPr>
            <p:cNvPr id="2757" name="Google Shape;2757;p31"/>
            <p:cNvSpPr/>
            <p:nvPr/>
          </p:nvSpPr>
          <p:spPr>
            <a:xfrm>
              <a:off x="3532475" y="3044725"/>
              <a:ext cx="87125" cy="87100"/>
            </a:xfrm>
            <a:custGeom>
              <a:avLst/>
              <a:gdLst/>
              <a:ahLst/>
              <a:cxnLst/>
              <a:rect l="l" t="t" r="r" b="b"/>
              <a:pathLst>
                <a:path w="3485" h="3484" extrusionOk="0">
                  <a:moveTo>
                    <a:pt x="1743" y="0"/>
                  </a:moveTo>
                  <a:cubicBezTo>
                    <a:pt x="793" y="0"/>
                    <a:pt x="1" y="760"/>
                    <a:pt x="1" y="1742"/>
                  </a:cubicBezTo>
                  <a:cubicBezTo>
                    <a:pt x="1" y="2692"/>
                    <a:pt x="793" y="3484"/>
                    <a:pt x="1743" y="3484"/>
                  </a:cubicBezTo>
                  <a:cubicBezTo>
                    <a:pt x="2693" y="3484"/>
                    <a:pt x="3485" y="2692"/>
                    <a:pt x="3485" y="1742"/>
                  </a:cubicBezTo>
                  <a:cubicBezTo>
                    <a:pt x="3485" y="760"/>
                    <a:pt x="2693" y="0"/>
                    <a:pt x="1743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60" name="Google Shape;2760;p31"/>
            <p:cNvSpPr/>
            <p:nvPr/>
          </p:nvSpPr>
          <p:spPr>
            <a:xfrm>
              <a:off x="2694850" y="2979800"/>
              <a:ext cx="86325" cy="62575"/>
            </a:xfrm>
            <a:custGeom>
              <a:avLst/>
              <a:gdLst/>
              <a:ahLst/>
              <a:cxnLst/>
              <a:rect l="l" t="t" r="r" b="b"/>
              <a:pathLst>
                <a:path w="3453" h="2503" extrusionOk="0">
                  <a:moveTo>
                    <a:pt x="0" y="0"/>
                  </a:moveTo>
                  <a:lnTo>
                    <a:pt x="855" y="1267"/>
                  </a:lnTo>
                  <a:lnTo>
                    <a:pt x="1710" y="2502"/>
                  </a:lnTo>
                  <a:lnTo>
                    <a:pt x="2597" y="1267"/>
                  </a:lnTo>
                  <a:lnTo>
                    <a:pt x="3452" y="0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61" name="Google Shape;2761;p31"/>
            <p:cNvSpPr/>
            <p:nvPr/>
          </p:nvSpPr>
          <p:spPr>
            <a:xfrm>
              <a:off x="2384475" y="3080350"/>
              <a:ext cx="373725" cy="6350"/>
            </a:xfrm>
            <a:custGeom>
              <a:avLst/>
              <a:gdLst/>
              <a:ahLst/>
              <a:cxnLst/>
              <a:rect l="l" t="t" r="r" b="b"/>
              <a:pathLst>
                <a:path w="14949" h="254" extrusionOk="0">
                  <a:moveTo>
                    <a:pt x="1" y="0"/>
                  </a:moveTo>
                  <a:lnTo>
                    <a:pt x="1" y="254"/>
                  </a:lnTo>
                  <a:lnTo>
                    <a:pt x="14949" y="254"/>
                  </a:lnTo>
                  <a:lnTo>
                    <a:pt x="14949" y="0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62" name="Google Shape;2762;p31"/>
            <p:cNvSpPr/>
            <p:nvPr/>
          </p:nvSpPr>
          <p:spPr>
            <a:xfrm>
              <a:off x="1694900" y="3759650"/>
              <a:ext cx="6350" cy="373700"/>
            </a:xfrm>
            <a:custGeom>
              <a:avLst/>
              <a:gdLst/>
              <a:ahLst/>
              <a:cxnLst/>
              <a:rect l="l" t="t" r="r" b="b"/>
              <a:pathLst>
                <a:path w="254" h="14948" extrusionOk="0">
                  <a:moveTo>
                    <a:pt x="0" y="0"/>
                  </a:moveTo>
                  <a:lnTo>
                    <a:pt x="0" y="14948"/>
                  </a:lnTo>
                  <a:lnTo>
                    <a:pt x="253" y="14948"/>
                  </a:lnTo>
                  <a:lnTo>
                    <a:pt x="253" y="0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63" name="Google Shape;2763;p31"/>
            <p:cNvSpPr/>
            <p:nvPr/>
          </p:nvSpPr>
          <p:spPr>
            <a:xfrm>
              <a:off x="642675" y="3080350"/>
              <a:ext cx="373725" cy="6350"/>
            </a:xfrm>
            <a:custGeom>
              <a:avLst/>
              <a:gdLst/>
              <a:ahLst/>
              <a:cxnLst/>
              <a:rect l="l" t="t" r="r" b="b"/>
              <a:pathLst>
                <a:path w="14949" h="254" extrusionOk="0">
                  <a:moveTo>
                    <a:pt x="1" y="0"/>
                  </a:moveTo>
                  <a:lnTo>
                    <a:pt x="1" y="254"/>
                  </a:lnTo>
                  <a:lnTo>
                    <a:pt x="14949" y="254"/>
                  </a:lnTo>
                  <a:lnTo>
                    <a:pt x="14949" y="0"/>
                  </a:lnTo>
                  <a:close/>
                </a:path>
              </a:pathLst>
            </a:custGeom>
            <a:solidFill>
              <a:srgbClr val="96979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64" name="Google Shape;2764;p31"/>
            <p:cNvSpPr/>
            <p:nvPr/>
          </p:nvSpPr>
          <p:spPr>
            <a:xfrm>
              <a:off x="1698050" y="3079550"/>
              <a:ext cx="688050" cy="688025"/>
            </a:xfrm>
            <a:custGeom>
              <a:avLst/>
              <a:gdLst/>
              <a:ahLst/>
              <a:cxnLst/>
              <a:rect l="l" t="t" r="r" b="b"/>
              <a:pathLst>
                <a:path w="27522" h="27521" extrusionOk="0">
                  <a:moveTo>
                    <a:pt x="23056" y="1"/>
                  </a:moveTo>
                  <a:lnTo>
                    <a:pt x="23056" y="32"/>
                  </a:lnTo>
                  <a:cubicBezTo>
                    <a:pt x="23056" y="12763"/>
                    <a:pt x="12732" y="23087"/>
                    <a:pt x="1" y="23087"/>
                  </a:cubicBezTo>
                  <a:lnTo>
                    <a:pt x="1" y="27521"/>
                  </a:lnTo>
                  <a:cubicBezTo>
                    <a:pt x="15202" y="27521"/>
                    <a:pt x="27521" y="15202"/>
                    <a:pt x="27521" y="1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65" name="Google Shape;2765;p31"/>
            <p:cNvSpPr/>
            <p:nvPr/>
          </p:nvSpPr>
          <p:spPr>
            <a:xfrm>
              <a:off x="1010050" y="3079550"/>
              <a:ext cx="688025" cy="688025"/>
            </a:xfrm>
            <a:custGeom>
              <a:avLst/>
              <a:gdLst/>
              <a:ahLst/>
              <a:cxnLst/>
              <a:rect l="l" t="t" r="r" b="b"/>
              <a:pathLst>
                <a:path w="27521" h="27521" extrusionOk="0">
                  <a:moveTo>
                    <a:pt x="0" y="1"/>
                  </a:moveTo>
                  <a:cubicBezTo>
                    <a:pt x="0" y="15202"/>
                    <a:pt x="12320" y="27521"/>
                    <a:pt x="27521" y="27521"/>
                  </a:cubicBezTo>
                  <a:lnTo>
                    <a:pt x="27521" y="23087"/>
                  </a:lnTo>
                  <a:cubicBezTo>
                    <a:pt x="14790" y="23087"/>
                    <a:pt x="4466" y="12763"/>
                    <a:pt x="4466" y="32"/>
                  </a:cubicBezTo>
                  <a:lnTo>
                    <a:pt x="4466" y="1"/>
                  </a:lnTo>
                  <a:close/>
                </a:path>
              </a:pathLst>
            </a:custGeom>
            <a:solidFill>
              <a:srgbClr val="21283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 dirty="0"/>
            </a:p>
          </p:txBody>
        </p:sp>
        <p:sp>
          <p:nvSpPr>
            <p:cNvPr id="2766" name="Google Shape;2766;p31"/>
            <p:cNvSpPr/>
            <p:nvPr/>
          </p:nvSpPr>
          <p:spPr>
            <a:xfrm>
              <a:off x="1010050" y="2393125"/>
              <a:ext cx="1376050" cy="688025"/>
            </a:xfrm>
            <a:custGeom>
              <a:avLst/>
              <a:gdLst/>
              <a:ahLst/>
              <a:cxnLst/>
              <a:rect l="l" t="t" r="r" b="b"/>
              <a:pathLst>
                <a:path w="55042" h="27521" extrusionOk="0">
                  <a:moveTo>
                    <a:pt x="27521" y="1"/>
                  </a:moveTo>
                  <a:cubicBezTo>
                    <a:pt x="12320" y="1"/>
                    <a:pt x="0" y="12320"/>
                    <a:pt x="0" y="27521"/>
                  </a:cubicBezTo>
                  <a:lnTo>
                    <a:pt x="4466" y="27521"/>
                  </a:lnTo>
                  <a:lnTo>
                    <a:pt x="4466" y="27489"/>
                  </a:lnTo>
                  <a:cubicBezTo>
                    <a:pt x="4466" y="14758"/>
                    <a:pt x="14790" y="4434"/>
                    <a:pt x="27521" y="4434"/>
                  </a:cubicBezTo>
                  <a:cubicBezTo>
                    <a:pt x="40252" y="4434"/>
                    <a:pt x="50576" y="14758"/>
                    <a:pt x="50576" y="27489"/>
                  </a:cubicBezTo>
                  <a:lnTo>
                    <a:pt x="50576" y="27521"/>
                  </a:lnTo>
                  <a:lnTo>
                    <a:pt x="55041" y="27521"/>
                  </a:lnTo>
                  <a:cubicBezTo>
                    <a:pt x="55041" y="12320"/>
                    <a:pt x="42722" y="1"/>
                    <a:pt x="27521" y="1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67" name="Google Shape;2767;p31"/>
            <p:cNvSpPr/>
            <p:nvPr/>
          </p:nvSpPr>
          <p:spPr>
            <a:xfrm>
              <a:off x="820825" y="2203125"/>
              <a:ext cx="1754500" cy="877250"/>
            </a:xfrm>
            <a:custGeom>
              <a:avLst/>
              <a:gdLst/>
              <a:ahLst/>
              <a:cxnLst/>
              <a:rect l="l" t="t" r="r" b="b"/>
              <a:pathLst>
                <a:path w="70180" h="35090" extrusionOk="0">
                  <a:moveTo>
                    <a:pt x="35090" y="0"/>
                  </a:moveTo>
                  <a:cubicBezTo>
                    <a:pt x="15740" y="0"/>
                    <a:pt x="0" y="15740"/>
                    <a:pt x="0" y="35089"/>
                  </a:cubicBezTo>
                  <a:lnTo>
                    <a:pt x="1457" y="35089"/>
                  </a:lnTo>
                  <a:cubicBezTo>
                    <a:pt x="1457" y="16563"/>
                    <a:pt x="16563" y="1457"/>
                    <a:pt x="35090" y="1457"/>
                  </a:cubicBezTo>
                  <a:cubicBezTo>
                    <a:pt x="53648" y="1457"/>
                    <a:pt x="68722" y="16563"/>
                    <a:pt x="68722" y="35089"/>
                  </a:cubicBezTo>
                  <a:lnTo>
                    <a:pt x="70179" y="35089"/>
                  </a:lnTo>
                  <a:cubicBezTo>
                    <a:pt x="70179" y="15740"/>
                    <a:pt x="54440" y="0"/>
                    <a:pt x="35090" y="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68" name="Google Shape;2768;p31"/>
            <p:cNvSpPr/>
            <p:nvPr/>
          </p:nvSpPr>
          <p:spPr>
            <a:xfrm>
              <a:off x="836650" y="3080350"/>
              <a:ext cx="861425" cy="862200"/>
            </a:xfrm>
            <a:custGeom>
              <a:avLst/>
              <a:gdLst/>
              <a:ahLst/>
              <a:cxnLst/>
              <a:rect l="l" t="t" r="r" b="b"/>
              <a:pathLst>
                <a:path w="34457" h="34488" extrusionOk="0">
                  <a:moveTo>
                    <a:pt x="1" y="0"/>
                  </a:moveTo>
                  <a:cubicBezTo>
                    <a:pt x="1" y="19002"/>
                    <a:pt x="15455" y="34488"/>
                    <a:pt x="34457" y="34488"/>
                  </a:cubicBezTo>
                  <a:lnTo>
                    <a:pt x="34457" y="34234"/>
                  </a:lnTo>
                  <a:cubicBezTo>
                    <a:pt x="15582" y="34234"/>
                    <a:pt x="223" y="18875"/>
                    <a:pt x="223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69" name="Google Shape;2769;p31"/>
            <p:cNvSpPr/>
            <p:nvPr/>
          </p:nvSpPr>
          <p:spPr>
            <a:xfrm>
              <a:off x="1698050" y="3080350"/>
              <a:ext cx="862225" cy="862200"/>
            </a:xfrm>
            <a:custGeom>
              <a:avLst/>
              <a:gdLst/>
              <a:ahLst/>
              <a:cxnLst/>
              <a:rect l="l" t="t" r="r" b="b"/>
              <a:pathLst>
                <a:path w="34489" h="34488" extrusionOk="0">
                  <a:moveTo>
                    <a:pt x="34235" y="0"/>
                  </a:moveTo>
                  <a:cubicBezTo>
                    <a:pt x="34235" y="18875"/>
                    <a:pt x="18876" y="34234"/>
                    <a:pt x="1" y="34234"/>
                  </a:cubicBezTo>
                  <a:lnTo>
                    <a:pt x="1" y="34488"/>
                  </a:lnTo>
                  <a:cubicBezTo>
                    <a:pt x="19002" y="34488"/>
                    <a:pt x="34488" y="19002"/>
                    <a:pt x="34488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70" name="Google Shape;2770;p31"/>
            <p:cNvSpPr/>
            <p:nvPr/>
          </p:nvSpPr>
          <p:spPr>
            <a:xfrm>
              <a:off x="653775" y="2036075"/>
              <a:ext cx="2089375" cy="1044300"/>
            </a:xfrm>
            <a:custGeom>
              <a:avLst/>
              <a:gdLst/>
              <a:ahLst/>
              <a:cxnLst/>
              <a:rect l="l" t="t" r="r" b="b"/>
              <a:pathLst>
                <a:path w="83575" h="41772" extrusionOk="0">
                  <a:moveTo>
                    <a:pt x="41772" y="0"/>
                  </a:moveTo>
                  <a:cubicBezTo>
                    <a:pt x="18748" y="0"/>
                    <a:pt x="0" y="18748"/>
                    <a:pt x="0" y="41771"/>
                  </a:cubicBezTo>
                  <a:lnTo>
                    <a:pt x="222" y="41771"/>
                  </a:lnTo>
                  <a:cubicBezTo>
                    <a:pt x="222" y="18875"/>
                    <a:pt x="18875" y="222"/>
                    <a:pt x="41772" y="222"/>
                  </a:cubicBezTo>
                  <a:cubicBezTo>
                    <a:pt x="64669" y="222"/>
                    <a:pt x="83322" y="18875"/>
                    <a:pt x="83322" y="41771"/>
                  </a:cubicBezTo>
                  <a:lnTo>
                    <a:pt x="83575" y="41771"/>
                  </a:lnTo>
                  <a:cubicBezTo>
                    <a:pt x="83575" y="18748"/>
                    <a:pt x="64827" y="0"/>
                    <a:pt x="41772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71" name="Google Shape;2771;p31"/>
            <p:cNvSpPr/>
            <p:nvPr/>
          </p:nvSpPr>
          <p:spPr>
            <a:xfrm>
              <a:off x="637925" y="3080350"/>
              <a:ext cx="1060150" cy="1060125"/>
            </a:xfrm>
            <a:custGeom>
              <a:avLst/>
              <a:gdLst/>
              <a:ahLst/>
              <a:cxnLst/>
              <a:rect l="l" t="t" r="r" b="b"/>
              <a:pathLst>
                <a:path w="42406" h="42405" extrusionOk="0">
                  <a:moveTo>
                    <a:pt x="1" y="0"/>
                  </a:moveTo>
                  <a:cubicBezTo>
                    <a:pt x="1" y="23372"/>
                    <a:pt x="19034" y="42405"/>
                    <a:pt x="42406" y="42405"/>
                  </a:cubicBezTo>
                  <a:lnTo>
                    <a:pt x="42406" y="40948"/>
                  </a:lnTo>
                  <a:cubicBezTo>
                    <a:pt x="19826" y="40948"/>
                    <a:pt x="1489" y="22580"/>
                    <a:pt x="1489" y="0"/>
                  </a:cubicBezTo>
                  <a:close/>
                </a:path>
              </a:pathLst>
            </a:custGeom>
            <a:solidFill>
              <a:srgbClr val="21283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72" name="Google Shape;2772;p31"/>
            <p:cNvSpPr/>
            <p:nvPr/>
          </p:nvSpPr>
          <p:spPr>
            <a:xfrm>
              <a:off x="1698050" y="3080350"/>
              <a:ext cx="1060150" cy="1060125"/>
            </a:xfrm>
            <a:custGeom>
              <a:avLst/>
              <a:gdLst/>
              <a:ahLst/>
              <a:cxnLst/>
              <a:rect l="l" t="t" r="r" b="b"/>
              <a:pathLst>
                <a:path w="42406" h="42405" extrusionOk="0">
                  <a:moveTo>
                    <a:pt x="40949" y="0"/>
                  </a:moveTo>
                  <a:cubicBezTo>
                    <a:pt x="40949" y="22580"/>
                    <a:pt x="22581" y="40948"/>
                    <a:pt x="1" y="40948"/>
                  </a:cubicBezTo>
                  <a:lnTo>
                    <a:pt x="1" y="42405"/>
                  </a:lnTo>
                  <a:cubicBezTo>
                    <a:pt x="23373" y="42405"/>
                    <a:pt x="42406" y="23372"/>
                    <a:pt x="42406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73" name="Google Shape;2773;p31"/>
            <p:cNvSpPr/>
            <p:nvPr/>
          </p:nvSpPr>
          <p:spPr>
            <a:xfrm>
              <a:off x="797075" y="3080350"/>
              <a:ext cx="86325" cy="62575"/>
            </a:xfrm>
            <a:custGeom>
              <a:avLst/>
              <a:gdLst/>
              <a:ahLst/>
              <a:cxnLst/>
              <a:rect l="l" t="t" r="r" b="b"/>
              <a:pathLst>
                <a:path w="3453" h="2503" extrusionOk="0">
                  <a:moveTo>
                    <a:pt x="1742" y="0"/>
                  </a:moveTo>
                  <a:lnTo>
                    <a:pt x="855" y="1267"/>
                  </a:lnTo>
                  <a:lnTo>
                    <a:pt x="0" y="2502"/>
                  </a:lnTo>
                  <a:lnTo>
                    <a:pt x="3452" y="2502"/>
                  </a:lnTo>
                  <a:lnTo>
                    <a:pt x="2597" y="1267"/>
                  </a:lnTo>
                  <a:lnTo>
                    <a:pt x="1742" y="0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74" name="Google Shape;2774;p31"/>
            <p:cNvSpPr/>
            <p:nvPr/>
          </p:nvSpPr>
          <p:spPr>
            <a:xfrm>
              <a:off x="1702025" y="3893450"/>
              <a:ext cx="61775" cy="87100"/>
            </a:xfrm>
            <a:custGeom>
              <a:avLst/>
              <a:gdLst/>
              <a:ahLst/>
              <a:cxnLst/>
              <a:rect l="l" t="t" r="r" b="b"/>
              <a:pathLst>
                <a:path w="2471" h="3484" extrusionOk="0">
                  <a:moveTo>
                    <a:pt x="2470" y="0"/>
                  </a:moveTo>
                  <a:lnTo>
                    <a:pt x="1235" y="887"/>
                  </a:lnTo>
                  <a:lnTo>
                    <a:pt x="0" y="1742"/>
                  </a:lnTo>
                  <a:lnTo>
                    <a:pt x="1235" y="2597"/>
                  </a:lnTo>
                  <a:lnTo>
                    <a:pt x="2470" y="3484"/>
                  </a:lnTo>
                  <a:lnTo>
                    <a:pt x="2470" y="1742"/>
                  </a:lnTo>
                  <a:lnTo>
                    <a:pt x="2470" y="0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75" name="Google Shape;2775;p31"/>
            <p:cNvSpPr/>
            <p:nvPr/>
          </p:nvSpPr>
          <p:spPr>
            <a:xfrm>
              <a:off x="3469950" y="3041550"/>
              <a:ext cx="66525" cy="92650"/>
            </a:xfrm>
            <a:custGeom>
              <a:avLst/>
              <a:gdLst/>
              <a:ahLst/>
              <a:cxnLst/>
              <a:rect l="l" t="t" r="r" b="b"/>
              <a:pathLst>
                <a:path w="2661" h="3706" extrusionOk="0">
                  <a:moveTo>
                    <a:pt x="0" y="1"/>
                  </a:moveTo>
                  <a:lnTo>
                    <a:pt x="0" y="1869"/>
                  </a:lnTo>
                  <a:lnTo>
                    <a:pt x="0" y="3706"/>
                  </a:lnTo>
                  <a:lnTo>
                    <a:pt x="1330" y="2787"/>
                  </a:lnTo>
                  <a:lnTo>
                    <a:pt x="2660" y="1869"/>
                  </a:lnTo>
                  <a:lnTo>
                    <a:pt x="1330" y="91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809" name="Google Shape;2809;p31"/>
            <p:cNvSpPr/>
            <p:nvPr/>
          </p:nvSpPr>
          <p:spPr>
            <a:xfrm>
              <a:off x="2693250" y="3044725"/>
              <a:ext cx="85550" cy="86325"/>
            </a:xfrm>
            <a:custGeom>
              <a:avLst/>
              <a:gdLst/>
              <a:ahLst/>
              <a:cxnLst/>
              <a:rect l="l" t="t" r="r" b="b"/>
              <a:pathLst>
                <a:path w="3422" h="3453" extrusionOk="0">
                  <a:moveTo>
                    <a:pt x="1711" y="0"/>
                  </a:moveTo>
                  <a:cubicBezTo>
                    <a:pt x="761" y="0"/>
                    <a:pt x="1" y="792"/>
                    <a:pt x="1" y="1742"/>
                  </a:cubicBezTo>
                  <a:cubicBezTo>
                    <a:pt x="1" y="2692"/>
                    <a:pt x="761" y="3452"/>
                    <a:pt x="1711" y="3452"/>
                  </a:cubicBezTo>
                  <a:cubicBezTo>
                    <a:pt x="2661" y="3452"/>
                    <a:pt x="3421" y="2692"/>
                    <a:pt x="3421" y="1742"/>
                  </a:cubicBezTo>
                  <a:cubicBezTo>
                    <a:pt x="3421" y="792"/>
                    <a:pt x="2661" y="0"/>
                    <a:pt x="1711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</p:grpSp>
      <p:sp>
        <p:nvSpPr>
          <p:cNvPr id="2823" name="Google Shape;2823;p31"/>
          <p:cNvSpPr txBox="1"/>
          <p:nvPr/>
        </p:nvSpPr>
        <p:spPr>
          <a:xfrm>
            <a:off x="6937744" y="3026403"/>
            <a:ext cx="2542800" cy="37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lvl="0"/>
            <a:r>
              <a: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lum </a:t>
            </a:r>
            <a:r>
              <a:rPr lang="en-US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miliki</a:t>
            </a:r>
            <a:r>
              <a: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BU KBLI 2020</a:t>
            </a:r>
          </a:p>
        </p:txBody>
      </p:sp>
      <p:sp>
        <p:nvSpPr>
          <p:cNvPr id="2825" name="Google Shape;2825;p31"/>
          <p:cNvSpPr txBox="1"/>
          <p:nvPr/>
        </p:nvSpPr>
        <p:spPr>
          <a:xfrm>
            <a:off x="7789647" y="3886656"/>
            <a:ext cx="3504373" cy="510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lvl="0"/>
            <a:r>
              <a:rPr lang="en-US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panjangan</a:t>
            </a:r>
            <a:r>
              <a: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masa </a:t>
            </a:r>
            <a:r>
              <a:rPr lang="en-US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rlaku</a:t>
            </a:r>
            <a:r>
              <a: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BU KBLI 2020</a:t>
            </a:r>
          </a:p>
        </p:txBody>
      </p:sp>
      <p:sp>
        <p:nvSpPr>
          <p:cNvPr id="2827" name="Google Shape;2827;p31"/>
          <p:cNvSpPr txBox="1"/>
          <p:nvPr/>
        </p:nvSpPr>
        <p:spPr>
          <a:xfrm>
            <a:off x="7244900" y="4960112"/>
            <a:ext cx="4770186" cy="15223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265113" indent="-265113">
              <a:buFont typeface="+mj-lt"/>
              <a:buAutoNum type="arabicParenR"/>
            </a:pPr>
            <a:r>
              <a:rPr lang="id-ID" sz="16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ses </a:t>
            </a:r>
            <a:r>
              <a:rPr lang="en-US" sz="1600" b="1" dirty="0" err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ubahan</a:t>
            </a:r>
            <a:r>
              <a:rPr lang="en-US" sz="16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600" b="1" dirty="0" err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lalui</a:t>
            </a:r>
            <a:r>
              <a:rPr lang="en-US" sz="16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id-ID" sz="16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SBU</a:t>
            </a:r>
            <a:r>
              <a:rPr lang="en-US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id-ID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luasan lingkup (penambahan subklasifikasi)</a:t>
            </a:r>
            <a:r>
              <a: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 </a:t>
            </a:r>
            <a:r>
              <a:rPr lang="id-ID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urun kualifikasi melalui asesmen</a:t>
            </a:r>
            <a:r>
              <a: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 </a:t>
            </a:r>
            <a:r>
              <a:rPr lang="id-ID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aik kualifikasi dengan </a:t>
            </a:r>
            <a:r>
              <a:rPr lang="id-ID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esmen</a:t>
            </a:r>
            <a:r>
              <a: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265113" indent="-265113">
              <a:buFont typeface="+mj-lt"/>
              <a:buAutoNum type="arabicParenR"/>
            </a:pPr>
            <a:r>
              <a:rPr lang="id-ID" sz="16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npa proses </a:t>
            </a:r>
            <a:r>
              <a:rPr lang="en-US" sz="1600" b="1" dirty="0" err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lalui</a:t>
            </a:r>
            <a:r>
              <a:rPr lang="en-US" sz="16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id-ID" sz="16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SBU</a:t>
            </a:r>
            <a:r>
              <a:rPr lang="en-US" sz="16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</a:t>
            </a:r>
            <a:r>
              <a:rPr lang="en-US" sz="1600" b="1" dirty="0" err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ngsung</a:t>
            </a:r>
            <a:r>
              <a:rPr lang="en-US" sz="16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600" b="1" dirty="0" err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</a:t>
            </a:r>
            <a:r>
              <a:rPr lang="en-US" sz="16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LPJK)</a:t>
            </a:r>
            <a:r>
              <a:rPr lang="en-US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: </a:t>
            </a:r>
            <a:r>
              <a:rPr lang="id-ID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ubahan data adminisrasi merubah sertifikat tanpa asesmen: alamat, asosiasi, email, npwp, PJBU </a:t>
            </a:r>
            <a:r>
              <a:rPr lang="en-US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ll</a:t>
            </a:r>
            <a:r>
              <a: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</a:p>
          <a:p>
            <a:pPr marL="265113" lvl="0" indent="-265113">
              <a:buFont typeface="+mj-lt"/>
              <a:buAutoNum type="arabicParenR"/>
            </a:pPr>
            <a:endParaRPr lang="en-US" sz="16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4" name="Title 1">
            <a:extLst>
              <a:ext uri="{FF2B5EF4-FFF2-40B4-BE49-F238E27FC236}">
                <a16:creationId xmlns:a16="http://schemas.microsoft.com/office/drawing/2014/main" id="{2E9881C8-8F83-4276-A9DD-50608AE06C99}"/>
              </a:ext>
            </a:extLst>
          </p:cNvPr>
          <p:cNvSpPr txBox="1">
            <a:spLocks/>
          </p:cNvSpPr>
          <p:nvPr/>
        </p:nvSpPr>
        <p:spPr>
          <a:xfrm>
            <a:off x="1045829" y="3649412"/>
            <a:ext cx="1221984" cy="505936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3000" b="1" dirty="0">
                <a:solidFill>
                  <a:prstClr val="black"/>
                </a:solidFill>
                <a:latin typeface=""/>
              </a:rPr>
              <a:t>OSS/LSBU</a:t>
            </a:r>
            <a:endParaRPr kumimoji="0" lang="fi-FI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"/>
            </a:endParaRPr>
          </a:p>
        </p:txBody>
      </p:sp>
      <p:sp>
        <p:nvSpPr>
          <p:cNvPr id="191" name="Title 1">
            <a:extLst>
              <a:ext uri="{FF2B5EF4-FFF2-40B4-BE49-F238E27FC236}">
                <a16:creationId xmlns:a16="http://schemas.microsoft.com/office/drawing/2014/main" id="{3E048CE1-C90D-4424-BCF5-808D3AE60EC4}"/>
              </a:ext>
            </a:extLst>
          </p:cNvPr>
          <p:cNvSpPr txBox="1">
            <a:spLocks/>
          </p:cNvSpPr>
          <p:nvPr/>
        </p:nvSpPr>
        <p:spPr>
          <a:xfrm>
            <a:off x="3840982" y="3068542"/>
            <a:ext cx="978480" cy="329307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rPr>
              <a:t>Baru</a:t>
            </a:r>
          </a:p>
        </p:txBody>
      </p:sp>
      <p:sp>
        <p:nvSpPr>
          <p:cNvPr id="192" name="Title 1">
            <a:extLst>
              <a:ext uri="{FF2B5EF4-FFF2-40B4-BE49-F238E27FC236}">
                <a16:creationId xmlns:a16="http://schemas.microsoft.com/office/drawing/2014/main" id="{3A19A75C-511E-4243-B9BC-DC3DD80D1797}"/>
              </a:ext>
            </a:extLst>
          </p:cNvPr>
          <p:cNvSpPr txBox="1">
            <a:spLocks/>
          </p:cNvSpPr>
          <p:nvPr/>
        </p:nvSpPr>
        <p:spPr>
          <a:xfrm>
            <a:off x="4392921" y="3889961"/>
            <a:ext cx="2213516" cy="654157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rPr>
              <a:t>Perpanjangan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0B4E451-AC94-40CC-8CFA-289ADAB8EF54}"/>
              </a:ext>
            </a:extLst>
          </p:cNvPr>
          <p:cNvCxnSpPr>
            <a:cxnSpLocks/>
          </p:cNvCxnSpPr>
          <p:nvPr/>
        </p:nvCxnSpPr>
        <p:spPr>
          <a:xfrm>
            <a:off x="4165145" y="3527688"/>
            <a:ext cx="827" cy="1751882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5798C378-C35B-46E4-B571-7E6B4F767BC5}"/>
              </a:ext>
            </a:extLst>
          </p:cNvPr>
          <p:cNvCxnSpPr>
            <a:cxnSpLocks/>
          </p:cNvCxnSpPr>
          <p:nvPr/>
        </p:nvCxnSpPr>
        <p:spPr>
          <a:xfrm flipH="1">
            <a:off x="3179390" y="4117721"/>
            <a:ext cx="1029206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9" name="Title 1">
            <a:extLst>
              <a:ext uri="{FF2B5EF4-FFF2-40B4-BE49-F238E27FC236}">
                <a16:creationId xmlns:a16="http://schemas.microsoft.com/office/drawing/2014/main" id="{7782C6B8-65B8-4CB4-913C-7AA35158A076}"/>
              </a:ext>
            </a:extLst>
          </p:cNvPr>
          <p:cNvSpPr txBox="1">
            <a:spLocks/>
          </p:cNvSpPr>
          <p:nvPr/>
        </p:nvSpPr>
        <p:spPr>
          <a:xfrm>
            <a:off x="3573852" y="5285526"/>
            <a:ext cx="2213516" cy="654157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rPr>
              <a:t>Perubahan</a:t>
            </a:r>
          </a:p>
        </p:txBody>
      </p:sp>
      <p:sp>
        <p:nvSpPr>
          <p:cNvPr id="12" name="Arrow: Striped Right 11">
            <a:extLst>
              <a:ext uri="{FF2B5EF4-FFF2-40B4-BE49-F238E27FC236}">
                <a16:creationId xmlns:a16="http://schemas.microsoft.com/office/drawing/2014/main" id="{83E1AA61-A7B8-4220-AE72-FE7295A4C1BC}"/>
              </a:ext>
            </a:extLst>
          </p:cNvPr>
          <p:cNvSpPr/>
          <p:nvPr/>
        </p:nvSpPr>
        <p:spPr>
          <a:xfrm>
            <a:off x="5581409" y="5071472"/>
            <a:ext cx="1646449" cy="713886"/>
          </a:xfrm>
          <a:prstGeom prst="stripedRightArrow">
            <a:avLst/>
          </a:prstGeom>
          <a:solidFill>
            <a:srgbClr val="F7B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32" name="Arrow: Striped Right 231">
            <a:extLst>
              <a:ext uri="{FF2B5EF4-FFF2-40B4-BE49-F238E27FC236}">
                <a16:creationId xmlns:a16="http://schemas.microsoft.com/office/drawing/2014/main" id="{DCE4F901-E8FB-48C6-9BA7-D5AA25187AFF}"/>
              </a:ext>
            </a:extLst>
          </p:cNvPr>
          <p:cNvSpPr/>
          <p:nvPr/>
        </p:nvSpPr>
        <p:spPr>
          <a:xfrm>
            <a:off x="5453389" y="2916302"/>
            <a:ext cx="1201066" cy="685906"/>
          </a:xfrm>
          <a:prstGeom prst="stripedRightArrow">
            <a:avLst/>
          </a:prstGeom>
          <a:solidFill>
            <a:srgbClr val="F7B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33" name="Arrow: Striped Right 232">
            <a:extLst>
              <a:ext uri="{FF2B5EF4-FFF2-40B4-BE49-F238E27FC236}">
                <a16:creationId xmlns:a16="http://schemas.microsoft.com/office/drawing/2014/main" id="{B8929110-249D-4BB1-8CCB-30B9B6D3091D}"/>
              </a:ext>
            </a:extLst>
          </p:cNvPr>
          <p:cNvSpPr/>
          <p:nvPr/>
        </p:nvSpPr>
        <p:spPr>
          <a:xfrm>
            <a:off x="6654455" y="3753078"/>
            <a:ext cx="823224" cy="705840"/>
          </a:xfrm>
          <a:prstGeom prst="stripedRightArrow">
            <a:avLst/>
          </a:prstGeom>
          <a:solidFill>
            <a:srgbClr val="F7B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B57F743-859A-AFCC-856B-EE342E5A90FA}"/>
              </a:ext>
            </a:extLst>
          </p:cNvPr>
          <p:cNvSpPr txBox="1"/>
          <p:nvPr/>
        </p:nvSpPr>
        <p:spPr>
          <a:xfrm>
            <a:off x="9005706" y="1674503"/>
            <a:ext cx="3274817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P No. 05 </a:t>
            </a:r>
            <a:r>
              <a:rPr lang="en-US" altLang="ko-KR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hun</a:t>
            </a:r>
            <a:r>
              <a:rPr lang="en-US" altLang="ko-KR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021</a:t>
            </a:r>
          </a:p>
          <a:p>
            <a:pPr algn="ctr"/>
            <a:r>
              <a:rPr lang="en-US" altLang="ko-KR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sal</a:t>
            </a:r>
            <a:r>
              <a:rPr lang="en-US" altLang="ko-KR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102 &amp; 103</a:t>
            </a:r>
          </a:p>
        </p:txBody>
      </p:sp>
      <p:sp>
        <p:nvSpPr>
          <p:cNvPr id="44" name="Rectangle: Diagonal Corners Snipped 43">
            <a:extLst>
              <a:ext uri="{FF2B5EF4-FFF2-40B4-BE49-F238E27FC236}">
                <a16:creationId xmlns:a16="http://schemas.microsoft.com/office/drawing/2014/main" id="{B6F40F9E-AE20-F89D-FBBE-93DD7E21B2DF}"/>
              </a:ext>
            </a:extLst>
          </p:cNvPr>
          <p:cNvSpPr/>
          <p:nvPr/>
        </p:nvSpPr>
        <p:spPr>
          <a:xfrm>
            <a:off x="359379" y="2097547"/>
            <a:ext cx="8792186" cy="715832"/>
          </a:xfrm>
          <a:prstGeom prst="snip2DiagRect">
            <a:avLst/>
          </a:prstGeom>
          <a:solidFill>
            <a:srgbClr val="0855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>
              <a:latin typeface="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094C9D3-0B8B-E929-194C-414417ED13CC}"/>
              </a:ext>
            </a:extLst>
          </p:cNvPr>
          <p:cNvSpPr txBox="1"/>
          <p:nvPr/>
        </p:nvSpPr>
        <p:spPr>
          <a:xfrm>
            <a:off x="524381" y="2061082"/>
            <a:ext cx="848132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UJK </a:t>
            </a:r>
            <a:r>
              <a:rPr lang="en-ID" sz="16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ngajukan</a:t>
            </a:r>
            <a:r>
              <a:rPr lang="en-ID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mohonan</a:t>
            </a:r>
            <a:r>
              <a:rPr lang="en-ID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bagaimana</a:t>
            </a:r>
            <a:r>
              <a:rPr lang="en-ID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maksud</a:t>
            </a:r>
            <a:r>
              <a:rPr lang="en-ID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ada </a:t>
            </a:r>
            <a:r>
              <a:rPr lang="en-ID" sz="16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yat</a:t>
            </a:r>
            <a:r>
              <a:rPr lang="en-ID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1) </a:t>
            </a:r>
            <a:r>
              <a:rPr lang="en-ID" sz="16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uruf</a:t>
            </a:r>
            <a:r>
              <a:rPr lang="en-ID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 </a:t>
            </a:r>
            <a:r>
              <a:rPr lang="en-ID" sz="16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lalui</a:t>
            </a:r>
            <a:r>
              <a:rPr lang="en-ID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Lembaga OSS </a:t>
            </a:r>
            <a:r>
              <a:rPr lang="en-ID" sz="16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ngan</a:t>
            </a:r>
            <a:r>
              <a:rPr lang="en-ID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lengkapi</a:t>
            </a:r>
            <a:r>
              <a:rPr lang="en-ID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kumen</a:t>
            </a:r>
            <a:r>
              <a:rPr lang="en-ID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yang </a:t>
            </a:r>
            <a:r>
              <a:rPr lang="en-ID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persyaratkan</a:t>
            </a:r>
            <a:r>
              <a:rPr lang="en-ID" sz="2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en-ID" sz="16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887F78-E749-C32E-588A-E3912BD8E085}"/>
              </a:ext>
            </a:extLst>
          </p:cNvPr>
          <p:cNvSpPr txBox="1"/>
          <p:nvPr/>
        </p:nvSpPr>
        <p:spPr>
          <a:xfrm>
            <a:off x="515933" y="1159028"/>
            <a:ext cx="8607057" cy="7853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7619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ngaju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rtifikasi</a:t>
            </a:r>
            <a:r>
              <a:rPr lang="en-ID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SBU </a:t>
            </a:r>
            <a:r>
              <a:rPr lang="en-ID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r>
              <a:rPr lang="en-ID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an SKK </a:t>
            </a:r>
            <a:r>
              <a:rPr lang="en-ID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struksi</a:t>
            </a:r>
            <a:r>
              <a:rPr lang="en-ID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bagaimana</a:t>
            </a:r>
            <a:r>
              <a:rPr lang="en-ID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maksud</a:t>
            </a:r>
            <a:r>
              <a:rPr lang="en-ID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lam</a:t>
            </a:r>
            <a:r>
              <a:rPr lang="en-ID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sal</a:t>
            </a:r>
            <a:r>
              <a:rPr lang="en-ID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100 dan </a:t>
            </a:r>
            <a:r>
              <a:rPr lang="en-ID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sal</a:t>
            </a:r>
            <a:r>
              <a:rPr lang="en-ID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101</a:t>
            </a:r>
            <a:r>
              <a:rPr lang="en-ID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laksanakan</a:t>
            </a:r>
            <a:r>
              <a:rPr lang="en-ID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ID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lalui</a:t>
            </a:r>
            <a:r>
              <a:rPr lang="en-ID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Lembaga OSS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9" name="Picture 8" descr="lgo sigap.png">
            <a:extLst>
              <a:ext uri="{FF2B5EF4-FFF2-40B4-BE49-F238E27FC236}">
                <a16:creationId xmlns:a16="http://schemas.microsoft.com/office/drawing/2014/main" id="{760C3099-D993-5659-48D4-80892A8E6D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10" name="Round Same Side Corner Rectangle 1">
            <a:extLst>
              <a:ext uri="{FF2B5EF4-FFF2-40B4-BE49-F238E27FC236}">
                <a16:creationId xmlns:a16="http://schemas.microsoft.com/office/drawing/2014/main" id="{D56E18FC-66F2-D4D8-F50B-207E7CDB1F86}"/>
              </a:ext>
            </a:extLst>
          </p:cNvPr>
          <p:cNvSpPr/>
          <p:nvPr/>
        </p:nvSpPr>
        <p:spPr>
          <a:xfrm rot="5400000">
            <a:off x="-3678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9994F709-D29B-7AE5-2266-AD49C6493963}"/>
              </a:ext>
            </a:extLst>
          </p:cNvPr>
          <p:cNvSpPr txBox="1">
            <a:spLocks/>
          </p:cNvSpPr>
          <p:nvPr/>
        </p:nvSpPr>
        <p:spPr>
          <a:xfrm>
            <a:off x="176914" y="169726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800" b="1" dirty="0">
                <a:solidFill>
                  <a:prstClr val="black"/>
                </a:solidFill>
                <a:latin typeface="Segoe UI"/>
              </a:rPr>
              <a:t>PENGAJUAN SERTIFIKASI SBU &amp; SKK</a:t>
            </a:r>
          </a:p>
        </p:txBody>
      </p:sp>
    </p:spTree>
    <p:extLst>
      <p:ext uri="{BB962C8B-B14F-4D97-AF65-F5344CB8AC3E}">
        <p14:creationId xmlns:p14="http://schemas.microsoft.com/office/powerpoint/2010/main" val="22278755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Contents Slide Master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2AEB8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" ma:contentTypeID="0x010100AEF28E0A17E4AE4FA5DD6A9AABB5DBC8" ma:contentTypeVersion="14" ma:contentTypeDescription="Buat sebuah dokumen baru." ma:contentTypeScope="" ma:versionID="42d596267b3f81e0b0ac10b6ed990834">
  <xsd:schema xmlns:xsd="http://www.w3.org/2001/XMLSchema" xmlns:xs="http://www.w3.org/2001/XMLSchema" xmlns:p="http://schemas.microsoft.com/office/2006/metadata/properties" xmlns:ns2="87f1a149-5420-40c2-b2e8-d8d0877ebc85" xmlns:ns3="23b7ebbb-480e-4d36-8f38-fd0ac82dae9c" targetNamespace="http://schemas.microsoft.com/office/2006/metadata/properties" ma:root="true" ma:fieldsID="4b1cec40b1cc87e1987a31aa0e4ea4d8" ns2:_="" ns3:_="">
    <xsd:import namespace="87f1a149-5420-40c2-b2e8-d8d0877ebc85"/>
    <xsd:import namespace="23b7ebbb-480e-4d36-8f38-fd0ac82dae9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f1a149-5420-40c2-b2e8-d8d0877ebc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Tag Gambar" ma:readOnly="false" ma:fieldId="{5cf76f15-5ced-4ddc-b409-7134ff3c332f}" ma:taxonomyMulti="true" ma:sspId="e6e5fdbd-f22c-4953-aab7-1427a6960ba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b7ebbb-480e-4d36-8f38-fd0ac82dae9c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fa478d63-9ff4-49de-8015-1fe076f1fbba}" ma:internalName="TaxCatchAll" ma:showField="CatchAllData" ma:web="23b7ebbb-480e-4d36-8f38-fd0ac82dae9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Dibagikan Denga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ibagikan Dengan Detail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e Isi"/>
        <xsd:element ref="dc:title" minOccurs="0" maxOccurs="1" ma:index="4" ma:displayName="Judu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7f1a149-5420-40c2-b2e8-d8d0877ebc85">
      <Terms xmlns="http://schemas.microsoft.com/office/infopath/2007/PartnerControls"/>
    </lcf76f155ced4ddcb4097134ff3c332f>
    <TaxCatchAll xmlns="23b7ebbb-480e-4d36-8f38-fd0ac82dae9c" xsi:nil="true"/>
  </documentManagement>
</p:properties>
</file>

<file path=customXml/itemProps1.xml><?xml version="1.0" encoding="utf-8"?>
<ds:datastoreItem xmlns:ds="http://schemas.openxmlformats.org/officeDocument/2006/customXml" ds:itemID="{6F51339B-F671-4404-8862-BB200DECBC6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C7AA3E7-E0B1-4E74-90A6-FA582C383D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7f1a149-5420-40c2-b2e8-d8d0877ebc85"/>
    <ds:schemaRef ds:uri="23b7ebbb-480e-4d36-8f38-fd0ac82dae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572560-C44B-441C-B6B5-1728095868B2}">
  <ds:schemaRefs>
    <ds:schemaRef ds:uri="http://schemas.openxmlformats.org/package/2006/metadata/core-properties"/>
    <ds:schemaRef ds:uri="http://www.w3.org/XML/1998/namespace"/>
    <ds:schemaRef ds:uri="http://purl.org/dc/dcmitype/"/>
    <ds:schemaRef ds:uri="87f1a149-5420-40c2-b2e8-d8d0877ebc85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purl.org/dc/terms/"/>
    <ds:schemaRef ds:uri="23b7ebbb-480e-4d36-8f38-fd0ac82dae9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594</TotalTime>
  <Words>7390</Words>
  <Application>Microsoft Macintosh PowerPoint</Application>
  <PresentationFormat>Widescreen</PresentationFormat>
  <Paragraphs>1678</Paragraphs>
  <Slides>54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22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4</vt:i4>
      </vt:variant>
    </vt:vector>
  </HeadingPairs>
  <TitlesOfParts>
    <vt:vector size="83" baseType="lpstr">
      <vt:lpstr>Aharoni</vt:lpstr>
      <vt:lpstr>Aptos</vt:lpstr>
      <vt:lpstr>Arial</vt:lpstr>
      <vt:lpstr>Calibri</vt:lpstr>
      <vt:lpstr>Calibri Light</vt:lpstr>
      <vt:lpstr>Century Gothic</vt:lpstr>
      <vt:lpstr>DM Sans</vt:lpstr>
      <vt:lpstr>Franklin Gothic Book</vt:lpstr>
      <vt:lpstr>Franklin Gothic Demi Cond</vt:lpstr>
      <vt:lpstr>Gotham</vt:lpstr>
      <vt:lpstr>Helvetica Neue</vt:lpstr>
      <vt:lpstr>Impact</vt:lpstr>
      <vt:lpstr>Montserrat</vt:lpstr>
      <vt:lpstr>Plus Jakarta Sans</vt:lpstr>
      <vt:lpstr>Roboto</vt:lpstr>
      <vt:lpstr>Rockwell</vt:lpstr>
      <vt:lpstr>Segoe UI</vt:lpstr>
      <vt:lpstr>Segoe UI Light</vt:lpstr>
      <vt:lpstr>Symbol</vt:lpstr>
      <vt:lpstr>Tahoma</vt:lpstr>
      <vt:lpstr>Verdana</vt:lpstr>
      <vt:lpstr>Wingdings</vt:lpstr>
      <vt:lpstr>1_Office Theme</vt:lpstr>
      <vt:lpstr>Office Theme</vt:lpstr>
      <vt:lpstr>2_Office Theme</vt:lpstr>
      <vt:lpstr>3_Office Theme</vt:lpstr>
      <vt:lpstr>Contents Slide Master</vt:lpstr>
      <vt:lpstr>4_Office Theme</vt:lpstr>
      <vt:lpstr>think-cell Slide</vt:lpstr>
      <vt:lpstr>PowerPoint Presentation</vt:lpstr>
      <vt:lpstr>OUTLIN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engurus LPJK 7</dc:creator>
  <cp:lastModifiedBy>celineoktaviaptr@gmail.com</cp:lastModifiedBy>
  <cp:revision>115</cp:revision>
  <dcterms:created xsi:type="dcterms:W3CDTF">2023-10-23T03:02:32Z</dcterms:created>
  <dcterms:modified xsi:type="dcterms:W3CDTF">2024-07-31T02:32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EF28E0A17E4AE4FA5DD6A9AABB5DBC8</vt:lpwstr>
  </property>
  <property fmtid="{D5CDD505-2E9C-101B-9397-08002B2CF9AE}" pid="3" name="MediaServiceImageTags">
    <vt:lpwstr/>
  </property>
</Properties>
</file>